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sldIdLst>
    <p:sldId id="256" r:id="rId2"/>
    <p:sldId id="257" r:id="rId3"/>
    <p:sldId id="259" r:id="rId4"/>
    <p:sldId id="258" r:id="rId5"/>
    <p:sldId id="260" r:id="rId6"/>
    <p:sldId id="261" r:id="rId7"/>
    <p:sldId id="262" r:id="rId8"/>
    <p:sldId id="263" r:id="rId9"/>
    <p:sldId id="264" r:id="rId10"/>
    <p:sldId id="265" r:id="rId1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103AFD-A07C-3980-E8B6-98AE94D0C9CC}" v="1" dt="2025-08-16T18:07:00.603"/>
    <p1510:client id="{291AFEB9-6251-6D42-AC07-0B2233347E3C}" v="147" dt="2025-08-16T16:41:47.479"/>
    <p1510:client id="{87783164-6297-4AB7-B3FA-19155B57801F}" v="9" dt="2025-08-16T17:56:06.207"/>
    <p1510:client id="{98DD6418-6DD4-45C9-BC66-0EDC121A568D}" v="585" dt="2025-08-16T16:09:54.2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18" autoAdjust="0"/>
    <p:restoredTop sz="76735" autoAdjust="0"/>
  </p:normalViewPr>
  <p:slideViewPr>
    <p:cSldViewPr snapToGrid="0" snapToObjects="1">
      <p:cViewPr varScale="1">
        <p:scale>
          <a:sx n="97" d="100"/>
          <a:sy n="97" d="100"/>
        </p:scale>
        <p:origin x="1136" y="184"/>
      </p:cViewPr>
      <p:guideLst>
        <p:guide orient="horz" pos="2160"/>
        <p:guide pos="2880"/>
      </p:guideLst>
    </p:cSldViewPr>
  </p:slideViewPr>
  <p:outlineViewPr>
    <p:cViewPr>
      <p:scale>
        <a:sx n="33" d="100"/>
        <a:sy n="33" d="100"/>
      </p:scale>
      <p:origin x="0" y="-1728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ay Gopalakrishnan" userId="4ab311f1-737a-4dc5-ae1c-d75632eec24a" providerId="ADAL" clId="{98DD6418-6DD4-45C9-BC66-0EDC121A568D}"/>
    <pc:docChg chg="custSel modSld modMainMaster">
      <pc:chgData name="Ajay Gopalakrishnan" userId="4ab311f1-737a-4dc5-ae1c-d75632eec24a" providerId="ADAL" clId="{98DD6418-6DD4-45C9-BC66-0EDC121A568D}" dt="2025-08-16T16:09:54.236" v="59" actId="1076"/>
      <pc:docMkLst>
        <pc:docMk/>
      </pc:docMkLst>
      <pc:sldChg chg="addSp modSp">
        <pc:chgData name="Ajay Gopalakrishnan" userId="4ab311f1-737a-4dc5-ae1c-d75632eec24a" providerId="ADAL" clId="{98DD6418-6DD4-45C9-BC66-0EDC121A568D}" dt="2025-08-16T16:09:49.903" v="58" actId="1076"/>
        <pc:sldMkLst>
          <pc:docMk/>
          <pc:sldMk cId="0" sldId="262"/>
        </pc:sldMkLst>
        <pc:picChg chg="add mod">
          <ac:chgData name="Ajay Gopalakrishnan" userId="4ab311f1-737a-4dc5-ae1c-d75632eec24a" providerId="ADAL" clId="{98DD6418-6DD4-45C9-BC66-0EDC121A568D}" dt="2025-08-16T16:09:49.903" v="58" actId="1076"/>
          <ac:picMkLst>
            <pc:docMk/>
            <pc:sldMk cId="0" sldId="262"/>
            <ac:picMk id="6" creationId="{DD047A9A-8B7E-BA72-7E4D-E5281CB26D02}"/>
          </ac:picMkLst>
        </pc:picChg>
      </pc:sldChg>
      <pc:sldChg chg="addSp delSp modSp mod">
        <pc:chgData name="Ajay Gopalakrishnan" userId="4ab311f1-737a-4dc5-ae1c-d75632eec24a" providerId="ADAL" clId="{98DD6418-6DD4-45C9-BC66-0EDC121A568D}" dt="2025-08-16T16:09:54.236" v="59" actId="1076"/>
        <pc:sldMkLst>
          <pc:docMk/>
          <pc:sldMk cId="0" sldId="263"/>
        </pc:sldMkLst>
        <pc:spChg chg="del">
          <ac:chgData name="Ajay Gopalakrishnan" userId="4ab311f1-737a-4dc5-ae1c-d75632eec24a" providerId="ADAL" clId="{98DD6418-6DD4-45C9-BC66-0EDC121A568D}" dt="2025-08-16T16:04:58.921" v="0" actId="478"/>
          <ac:spMkLst>
            <pc:docMk/>
            <pc:sldMk cId="0" sldId="263"/>
            <ac:spMk id="2" creationId="{00000000-0000-0000-0000-000000000000}"/>
          </ac:spMkLst>
        </pc:spChg>
        <pc:spChg chg="add del mod">
          <ac:chgData name="Ajay Gopalakrishnan" userId="4ab311f1-737a-4dc5-ae1c-d75632eec24a" providerId="ADAL" clId="{98DD6418-6DD4-45C9-BC66-0EDC121A568D}" dt="2025-08-16T16:05:09.291" v="52" actId="478"/>
          <ac:spMkLst>
            <pc:docMk/>
            <pc:sldMk cId="0" sldId="263"/>
            <ac:spMk id="4" creationId="{E0A53A52-73F7-C09D-9F76-4C061715710E}"/>
          </ac:spMkLst>
        </pc:spChg>
        <pc:spChg chg="add mod">
          <ac:chgData name="Ajay Gopalakrishnan" userId="4ab311f1-737a-4dc5-ae1c-d75632eec24a" providerId="ADAL" clId="{98DD6418-6DD4-45C9-BC66-0EDC121A568D}" dt="2025-08-16T16:05:15.818" v="56" actId="6549"/>
          <ac:spMkLst>
            <pc:docMk/>
            <pc:sldMk cId="0" sldId="263"/>
            <ac:spMk id="5" creationId="{C5590365-06B9-5F1E-C28E-28A7852B80A8}"/>
          </ac:spMkLst>
        </pc:spChg>
        <pc:graphicFrameChg chg="add mod ord modVis">
          <ac:chgData name="Ajay Gopalakrishnan" userId="4ab311f1-737a-4dc5-ae1c-d75632eec24a" providerId="ADAL" clId="{98DD6418-6DD4-45C9-BC66-0EDC121A568D}" dt="2025-08-16T16:05:09.800" v="54"/>
          <ac:graphicFrameMkLst>
            <pc:docMk/>
            <pc:sldMk cId="0" sldId="263"/>
            <ac:graphicFrameMk id="6" creationId="{3B7F2DAC-5036-D174-1019-6ACF98CE83C5}"/>
          </ac:graphicFrameMkLst>
        </pc:graphicFrameChg>
        <pc:picChg chg="add mod">
          <ac:chgData name="Ajay Gopalakrishnan" userId="4ab311f1-737a-4dc5-ae1c-d75632eec24a" providerId="ADAL" clId="{98DD6418-6DD4-45C9-BC66-0EDC121A568D}" dt="2025-08-16T16:09:54.236" v="59" actId="1076"/>
          <ac:picMkLst>
            <pc:docMk/>
            <pc:sldMk cId="0" sldId="263"/>
            <ac:picMk id="9" creationId="{C7DF5ADA-AE5C-DCA2-9060-4BAC0711AA3E}"/>
          </ac:picMkLst>
        </pc:picChg>
      </pc:sldChg>
      <pc:sldMasterChg chg="addSp delSp modSp mod">
        <pc:chgData name="Ajay Gopalakrishnan" userId="4ab311f1-737a-4dc5-ae1c-d75632eec24a" providerId="ADAL" clId="{98DD6418-6DD4-45C9-BC66-0EDC121A568D}" dt="2025-08-16T16:05:06.420" v="37"/>
        <pc:sldMasterMkLst>
          <pc:docMk/>
          <pc:sldMasterMk cId="2209977519" sldId="2147483648"/>
        </pc:sldMasterMkLst>
        <pc:spChg chg="mod">
          <ac:chgData name="Ajay Gopalakrishnan" userId="4ab311f1-737a-4dc5-ae1c-d75632eec24a" providerId="ADAL" clId="{98DD6418-6DD4-45C9-BC66-0EDC121A568D}" dt="2025-08-16T16:04:59.476" v="2" actId="948"/>
          <ac:spMkLst>
            <pc:docMk/>
            <pc:sldMasterMk cId="2209977519" sldId="2147483648"/>
            <ac:spMk id="2" creationId="{00000000-0000-0000-0000-000000000000}"/>
          </ac:spMkLst>
        </pc:spChg>
        <pc:spChg chg="add del mod modVis">
          <ac:chgData name="Ajay Gopalakrishnan" userId="4ab311f1-737a-4dc5-ae1c-d75632eec24a" providerId="ADAL" clId="{98DD6418-6DD4-45C9-BC66-0EDC121A568D}" dt="2025-08-16T16:05:01.178" v="23"/>
          <ac:spMkLst>
            <pc:docMk/>
            <pc:sldMasterMk cId="2209977519" sldId="2147483648"/>
            <ac:spMk id="7" creationId="{2A695009-F843-79BE-326C-D1154881A174}"/>
          </ac:spMkLst>
        </pc:spChg>
        <pc:graphicFrameChg chg="add mod ord modVis">
          <ac:chgData name="Ajay Gopalakrishnan" userId="4ab311f1-737a-4dc5-ae1c-d75632eec24a" providerId="ADAL" clId="{98DD6418-6DD4-45C9-BC66-0EDC121A568D}" dt="2025-08-16T16:05:06.420" v="37"/>
          <ac:graphicFrameMkLst>
            <pc:docMk/>
            <pc:sldMasterMk cId="2209977519" sldId="2147483648"/>
            <ac:graphicFrameMk id="8" creationId="{A7728149-A375-E03C-749B-0F0A130962F5}"/>
          </ac:graphicFrameMkLst>
        </pc:graphicFrameChg>
      </pc:sldMasterChg>
    </pc:docChg>
  </pc:docChgLst>
  <pc:docChgLst>
    <pc:chgData name="Elizabeth Setjawardaja" userId="d367d6d5-18ee-408c-9a25-4ef250cde51f" providerId="ADAL" clId="{291AFEB9-6251-6D42-AC07-0B2233347E3C}"/>
    <pc:docChg chg="undo custSel modSld">
      <pc:chgData name="Elizabeth Setjawardaja" userId="d367d6d5-18ee-408c-9a25-4ef250cde51f" providerId="ADAL" clId="{291AFEB9-6251-6D42-AC07-0B2233347E3C}" dt="2025-08-16T16:42:49.577" v="266" actId="113"/>
      <pc:docMkLst>
        <pc:docMk/>
      </pc:docMkLst>
      <pc:sldChg chg="addSp delSp modSp mod delAnim modAnim modNotesTx">
        <pc:chgData name="Elizabeth Setjawardaja" userId="d367d6d5-18ee-408c-9a25-4ef250cde51f" providerId="ADAL" clId="{291AFEB9-6251-6D42-AC07-0B2233347E3C}" dt="2025-08-16T16:42:49.577" v="266" actId="113"/>
        <pc:sldMkLst>
          <pc:docMk/>
          <pc:sldMk cId="0" sldId="264"/>
        </pc:sldMkLst>
        <pc:spChg chg="mod">
          <ac:chgData name="Elizabeth Setjawardaja" userId="d367d6d5-18ee-408c-9a25-4ef250cde51f" providerId="ADAL" clId="{291AFEB9-6251-6D42-AC07-0B2233347E3C}" dt="2025-08-16T16:19:32.854" v="74" actId="20577"/>
          <ac:spMkLst>
            <pc:docMk/>
            <pc:sldMk cId="0" sldId="264"/>
            <ac:spMk id="3" creationId="{00000000-0000-0000-0000-000000000000}"/>
          </ac:spMkLst>
        </pc:spChg>
        <pc:picChg chg="add del mod">
          <ac:chgData name="Elizabeth Setjawardaja" userId="d367d6d5-18ee-408c-9a25-4ef250cde51f" providerId="ADAL" clId="{291AFEB9-6251-6D42-AC07-0B2233347E3C}" dt="2025-08-16T16:25:09.375" v="112" actId="478"/>
          <ac:picMkLst>
            <pc:docMk/>
            <pc:sldMk cId="0" sldId="264"/>
            <ac:picMk id="4" creationId="{0CD6B71B-6743-89C6-A11E-751505FCA7F1}"/>
          </ac:picMkLst>
        </pc:picChg>
        <pc:picChg chg="add mod">
          <ac:chgData name="Elizabeth Setjawardaja" userId="d367d6d5-18ee-408c-9a25-4ef250cde51f" providerId="ADAL" clId="{291AFEB9-6251-6D42-AC07-0B2233347E3C}" dt="2025-08-16T16:25:12.773" v="113" actId="1076"/>
          <ac:picMkLst>
            <pc:docMk/>
            <pc:sldMk cId="0" sldId="264"/>
            <ac:picMk id="5" creationId="{67171EDD-8BB0-1C7D-C752-7AF002AB1ADC}"/>
          </ac:picMkLst>
        </pc:picChg>
      </pc:sldChg>
      <pc:sldChg chg="addSp delSp modSp mod delAnim modAnim modNotesTx">
        <pc:chgData name="Elizabeth Setjawardaja" userId="d367d6d5-18ee-408c-9a25-4ef250cde51f" providerId="ADAL" clId="{291AFEB9-6251-6D42-AC07-0B2233347E3C}" dt="2025-08-16T16:42:41.790" v="264" actId="1076"/>
        <pc:sldMkLst>
          <pc:docMk/>
          <pc:sldMk cId="0" sldId="265"/>
        </pc:sldMkLst>
        <pc:picChg chg="add del mod">
          <ac:chgData name="Elizabeth Setjawardaja" userId="d367d6d5-18ee-408c-9a25-4ef250cde51f" providerId="ADAL" clId="{291AFEB9-6251-6D42-AC07-0B2233347E3C}" dt="2025-08-16T16:34:09.763" v="145" actId="478"/>
          <ac:picMkLst>
            <pc:docMk/>
            <pc:sldMk cId="0" sldId="265"/>
            <ac:picMk id="3" creationId="{0720DF05-274C-FF0B-6627-8FA354F0252B}"/>
          </ac:picMkLst>
        </pc:picChg>
        <pc:picChg chg="add del mod">
          <ac:chgData name="Elizabeth Setjawardaja" userId="d367d6d5-18ee-408c-9a25-4ef250cde51f" providerId="ADAL" clId="{291AFEB9-6251-6D42-AC07-0B2233347E3C}" dt="2025-08-16T16:34:07.918" v="144" actId="478"/>
          <ac:picMkLst>
            <pc:docMk/>
            <pc:sldMk cId="0" sldId="265"/>
            <ac:picMk id="4" creationId="{620DDE42-E47A-D4E5-6B85-CC13EABA7372}"/>
          </ac:picMkLst>
        </pc:picChg>
        <pc:picChg chg="add del mod">
          <ac:chgData name="Elizabeth Setjawardaja" userId="d367d6d5-18ee-408c-9a25-4ef250cde51f" providerId="ADAL" clId="{291AFEB9-6251-6D42-AC07-0B2233347E3C}" dt="2025-08-16T16:39:56.376" v="259" actId="478"/>
          <ac:picMkLst>
            <pc:docMk/>
            <pc:sldMk cId="0" sldId="265"/>
            <ac:picMk id="6" creationId="{6762F650-9E84-C984-8CFA-ABE8DED39358}"/>
          </ac:picMkLst>
        </pc:picChg>
        <pc:picChg chg="add del mod">
          <ac:chgData name="Elizabeth Setjawardaja" userId="d367d6d5-18ee-408c-9a25-4ef250cde51f" providerId="ADAL" clId="{291AFEB9-6251-6D42-AC07-0B2233347E3C}" dt="2025-08-16T16:42:34.313" v="262" actId="478"/>
          <ac:picMkLst>
            <pc:docMk/>
            <pc:sldMk cId="0" sldId="265"/>
            <ac:picMk id="7" creationId="{9FBDB3D0-B37E-3437-6BC4-C2A724878EBC}"/>
          </ac:picMkLst>
        </pc:picChg>
        <pc:picChg chg="add mod">
          <ac:chgData name="Elizabeth Setjawardaja" userId="d367d6d5-18ee-408c-9a25-4ef250cde51f" providerId="ADAL" clId="{291AFEB9-6251-6D42-AC07-0B2233347E3C}" dt="2025-08-16T16:42:41.790" v="264" actId="1076"/>
          <ac:picMkLst>
            <pc:docMk/>
            <pc:sldMk cId="0" sldId="265"/>
            <ac:picMk id="8" creationId="{5680069C-AE84-04BD-0FDA-B9056B073E7A}"/>
          </ac:picMkLst>
        </pc:picChg>
      </pc:sldChg>
    </pc:docChg>
  </pc:docChgLst>
  <pc:docChgLst>
    <pc:chgData name="Emmanuel Opoku" userId="5c355ba7-353b-415c-9669-28b2726e1893" providerId="ADAL" clId="{87783164-6297-4AB7-B3FA-19155B57801F}"/>
    <pc:docChg chg="custSel addSld delSld modSld">
      <pc:chgData name="Emmanuel Opoku" userId="5c355ba7-353b-415c-9669-28b2726e1893" providerId="ADAL" clId="{87783164-6297-4AB7-B3FA-19155B57801F}" dt="2025-08-16T17:56:10.991" v="8" actId="1076"/>
      <pc:docMkLst>
        <pc:docMk/>
      </pc:docMkLst>
      <pc:sldChg chg="modSp mod">
        <pc:chgData name="Emmanuel Opoku" userId="5c355ba7-353b-415c-9669-28b2726e1893" providerId="ADAL" clId="{87783164-6297-4AB7-B3FA-19155B57801F}" dt="2025-08-16T17:26:13.676" v="0" actId="33524"/>
        <pc:sldMkLst>
          <pc:docMk/>
          <pc:sldMk cId="0" sldId="256"/>
        </pc:sldMkLst>
        <pc:spChg chg="mod">
          <ac:chgData name="Emmanuel Opoku" userId="5c355ba7-353b-415c-9669-28b2726e1893" providerId="ADAL" clId="{87783164-6297-4AB7-B3FA-19155B57801F}" dt="2025-08-16T17:26:13.676" v="0" actId="33524"/>
          <ac:spMkLst>
            <pc:docMk/>
            <pc:sldMk cId="0" sldId="256"/>
            <ac:spMk id="2" creationId="{00000000-0000-0000-0000-000000000000}"/>
          </ac:spMkLst>
        </pc:spChg>
      </pc:sldChg>
      <pc:sldChg chg="delSp modSp mod delAnim">
        <pc:chgData name="Emmanuel Opoku" userId="5c355ba7-353b-415c-9669-28b2726e1893" providerId="ADAL" clId="{87783164-6297-4AB7-B3FA-19155B57801F}" dt="2025-08-16T17:52:45.392" v="6" actId="1076"/>
        <pc:sldMkLst>
          <pc:docMk/>
          <pc:sldMk cId="0" sldId="258"/>
        </pc:sldMkLst>
        <pc:picChg chg="del mod">
          <ac:chgData name="Emmanuel Opoku" userId="5c355ba7-353b-415c-9669-28b2726e1893" providerId="ADAL" clId="{87783164-6297-4AB7-B3FA-19155B57801F}" dt="2025-08-16T17:49:13.764" v="5" actId="478"/>
          <ac:picMkLst>
            <pc:docMk/>
            <pc:sldMk cId="0" sldId="258"/>
            <ac:picMk id="4" creationId="{756E5AC0-D9F2-98F8-8F85-E749D6F8826A}"/>
          </ac:picMkLst>
        </pc:picChg>
        <pc:picChg chg="mod">
          <ac:chgData name="Emmanuel Opoku" userId="5c355ba7-353b-415c-9669-28b2726e1893" providerId="ADAL" clId="{87783164-6297-4AB7-B3FA-19155B57801F}" dt="2025-08-16T17:52:45.392" v="6" actId="1076"/>
          <ac:picMkLst>
            <pc:docMk/>
            <pc:sldMk cId="0" sldId="258"/>
            <ac:picMk id="5" creationId="{756A5B2F-5B95-6141-A27B-A6FF0AAB8006}"/>
          </ac:picMkLst>
        </pc:picChg>
      </pc:sldChg>
      <pc:sldChg chg="modSp mod">
        <pc:chgData name="Emmanuel Opoku" userId="5c355ba7-353b-415c-9669-28b2726e1893" providerId="ADAL" clId="{87783164-6297-4AB7-B3FA-19155B57801F}" dt="2025-08-16T17:54:14.931" v="7" actId="1076"/>
        <pc:sldMkLst>
          <pc:docMk/>
          <pc:sldMk cId="0" sldId="260"/>
        </pc:sldMkLst>
        <pc:picChg chg="mod">
          <ac:chgData name="Emmanuel Opoku" userId="5c355ba7-353b-415c-9669-28b2726e1893" providerId="ADAL" clId="{87783164-6297-4AB7-B3FA-19155B57801F}" dt="2025-08-16T17:54:14.931" v="7" actId="1076"/>
          <ac:picMkLst>
            <pc:docMk/>
            <pc:sldMk cId="0" sldId="260"/>
            <ac:picMk id="4" creationId="{E6310481-F08E-2082-4D3D-185A0F508372}"/>
          </ac:picMkLst>
        </pc:picChg>
      </pc:sldChg>
      <pc:sldChg chg="modSp mod">
        <pc:chgData name="Emmanuel Opoku" userId="5c355ba7-353b-415c-9669-28b2726e1893" providerId="ADAL" clId="{87783164-6297-4AB7-B3FA-19155B57801F}" dt="2025-08-16T17:56:10.991" v="8" actId="1076"/>
        <pc:sldMkLst>
          <pc:docMk/>
          <pc:sldMk cId="0" sldId="261"/>
        </pc:sldMkLst>
        <pc:picChg chg="mod">
          <ac:chgData name="Emmanuel Opoku" userId="5c355ba7-353b-415c-9669-28b2726e1893" providerId="ADAL" clId="{87783164-6297-4AB7-B3FA-19155B57801F}" dt="2025-08-16T17:56:10.991" v="8" actId="1076"/>
          <ac:picMkLst>
            <pc:docMk/>
            <pc:sldMk cId="0" sldId="261"/>
            <ac:picMk id="4" creationId="{A0686C4B-18D2-A537-9560-AAFA7315E536}"/>
          </ac:picMkLst>
        </pc:picChg>
      </pc:sldChg>
      <pc:sldChg chg="addSp delSp add del setBg delDesignElem">
        <pc:chgData name="Emmanuel Opoku" userId="5c355ba7-353b-415c-9669-28b2726e1893" providerId="ADAL" clId="{87783164-6297-4AB7-B3FA-19155B57801F}" dt="2025-08-16T17:37:16.921" v="3"/>
        <pc:sldMkLst>
          <pc:docMk/>
          <pc:sldMk cId="1937525560" sldId="266"/>
        </pc:sldMkLst>
        <pc:spChg chg="add del">
          <ac:chgData name="Emmanuel Opoku" userId="5c355ba7-353b-415c-9669-28b2726e1893" providerId="ADAL" clId="{87783164-6297-4AB7-B3FA-19155B57801F}" dt="2025-08-16T17:37:16.921" v="3"/>
          <ac:spMkLst>
            <pc:docMk/>
            <pc:sldMk cId="1937525560" sldId="266"/>
            <ac:spMk id="25" creationId="{38B87584-32D3-0482-EDBD-8C9CD34C5636}"/>
          </ac:spMkLst>
        </pc:spChg>
        <pc:spChg chg="add del">
          <ac:chgData name="Emmanuel Opoku" userId="5c355ba7-353b-415c-9669-28b2726e1893" providerId="ADAL" clId="{87783164-6297-4AB7-B3FA-19155B57801F}" dt="2025-08-16T17:37:16.921" v="3"/>
          <ac:spMkLst>
            <pc:docMk/>
            <pc:sldMk cId="1937525560" sldId="266"/>
            <ac:spMk id="27" creationId="{8E303959-9A55-8AC8-64FB-35404F7C686D}"/>
          </ac:spMkLst>
        </pc:spChg>
      </pc:sldChg>
    </pc:docChg>
  </pc:docChgLst>
  <pc:docChgLst>
    <pc:chgData name="Emmanuel Opoku" userId="S::opokue@purdue.edu::5c355ba7-353b-415c-9669-28b2726e1893" providerId="AD" clId="Web-{1B103AFD-A07C-3980-E8B6-98AE94D0C9CC}"/>
    <pc:docChg chg="modSld">
      <pc:chgData name="Emmanuel Opoku" userId="S::opokue@purdue.edu::5c355ba7-353b-415c-9669-28b2726e1893" providerId="AD" clId="Web-{1B103AFD-A07C-3980-E8B6-98AE94D0C9CC}" dt="2025-08-16T18:07:00.603" v="0" actId="14100"/>
      <pc:docMkLst>
        <pc:docMk/>
      </pc:docMkLst>
      <pc:sldChg chg="modSp">
        <pc:chgData name="Emmanuel Opoku" userId="S::opokue@purdue.edu::5c355ba7-353b-415c-9669-28b2726e1893" providerId="AD" clId="Web-{1B103AFD-A07C-3980-E8B6-98AE94D0C9CC}" dt="2025-08-16T18:07:00.603" v="0" actId="14100"/>
        <pc:sldMkLst>
          <pc:docMk/>
          <pc:sldMk cId="0" sldId="261"/>
        </pc:sldMkLst>
        <pc:picChg chg="mod">
          <ac:chgData name="Emmanuel Opoku" userId="S::opokue@purdue.edu::5c355ba7-353b-415c-9669-28b2726e1893" providerId="AD" clId="Web-{1B103AFD-A07C-3980-E8B6-98AE94D0C9CC}" dt="2025-08-16T18:07:00.603" v="0" actId="14100"/>
          <ac:picMkLst>
            <pc:docMk/>
            <pc:sldMk cId="0" sldId="261"/>
            <ac:picMk id="4" creationId="{A0686C4B-18D2-A537-9560-AAFA7315E536}"/>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0A42C4-EE31-4578-BD4A-31BC56FE9DB6}" type="doc">
      <dgm:prSet loTypeId="urn:microsoft.com/office/officeart/2005/8/layout/list1" loCatId="list" qsTypeId="urn:microsoft.com/office/officeart/2005/8/quickstyle/simple1" qsCatId="simple" csTypeId="urn:microsoft.com/office/officeart/2005/8/colors/colorful5" csCatId="colorful"/>
      <dgm:spPr/>
      <dgm:t>
        <a:bodyPr/>
        <a:lstStyle/>
        <a:p>
          <a:endParaRPr lang="en-US"/>
        </a:p>
      </dgm:t>
    </dgm:pt>
    <dgm:pt modelId="{A05A9FF1-326B-4A33-9483-A45D3BAF077D}">
      <dgm:prSet/>
      <dgm:spPr/>
      <dgm:t>
        <a:bodyPr/>
        <a:lstStyle/>
        <a:p>
          <a:r>
            <a:rPr lang="en-US"/>
            <a:t>Immediate next steps (next 2 weeks)</a:t>
          </a:r>
        </a:p>
      </dgm:t>
    </dgm:pt>
    <dgm:pt modelId="{30A0A750-C250-4DB8-B26C-38AF572C4BF5}" type="parTrans" cxnId="{79BFA396-84E8-49AB-9D4D-7781DFE3D149}">
      <dgm:prSet/>
      <dgm:spPr/>
      <dgm:t>
        <a:bodyPr/>
        <a:lstStyle/>
        <a:p>
          <a:endParaRPr lang="en-US"/>
        </a:p>
      </dgm:t>
    </dgm:pt>
    <dgm:pt modelId="{7E003A1B-6CB5-4C01-B745-4F624C632AC6}" type="sibTrans" cxnId="{79BFA396-84E8-49AB-9D4D-7781DFE3D149}">
      <dgm:prSet phldrT="01" phldr="0"/>
      <dgm:spPr/>
      <dgm:t>
        <a:bodyPr/>
        <a:lstStyle/>
        <a:p>
          <a:endParaRPr lang="en-US"/>
        </a:p>
      </dgm:t>
    </dgm:pt>
    <dgm:pt modelId="{1E0B3CF5-4D6E-48C8-B5C2-BB987C4347E1}">
      <dgm:prSet/>
      <dgm:spPr/>
      <dgm:t>
        <a:bodyPr/>
        <a:lstStyle/>
        <a:p>
          <a:r>
            <a:rPr lang="en-US" dirty="0"/>
            <a:t>Lock driver tree &amp; non‑leaky model; finalize target segment list</a:t>
          </a:r>
        </a:p>
      </dgm:t>
    </dgm:pt>
    <dgm:pt modelId="{AA6E732A-011B-4FD6-BA3A-945603460FF4}" type="parTrans" cxnId="{9C320FBF-B5ED-436F-B2AC-B47A7D99C7CC}">
      <dgm:prSet/>
      <dgm:spPr/>
      <dgm:t>
        <a:bodyPr/>
        <a:lstStyle/>
        <a:p>
          <a:endParaRPr lang="en-US"/>
        </a:p>
      </dgm:t>
    </dgm:pt>
    <dgm:pt modelId="{0B5B72A1-62D8-45E0-BF52-09778805431E}" type="sibTrans" cxnId="{9C320FBF-B5ED-436F-B2AC-B47A7D99C7CC}">
      <dgm:prSet/>
      <dgm:spPr/>
      <dgm:t>
        <a:bodyPr/>
        <a:lstStyle/>
        <a:p>
          <a:endParaRPr lang="en-US"/>
        </a:p>
      </dgm:t>
    </dgm:pt>
    <dgm:pt modelId="{98423DFB-1106-4C1A-8BB2-518E8389476E}">
      <dgm:prSet/>
      <dgm:spPr/>
      <dgm:t>
        <a:bodyPr/>
        <a:lstStyle/>
        <a:p>
          <a:r>
            <a:rPr lang="en-US" dirty="0"/>
            <a:t>Kick off SKU margin audit &amp; Clothing cost‑to‑serve</a:t>
          </a:r>
        </a:p>
      </dgm:t>
    </dgm:pt>
    <dgm:pt modelId="{7A0072A7-7843-4781-AFEF-FD0823D212BA}" type="parTrans" cxnId="{AC766066-8773-49BB-9AE5-D790E8A1820B}">
      <dgm:prSet/>
      <dgm:spPr/>
      <dgm:t>
        <a:bodyPr/>
        <a:lstStyle/>
        <a:p>
          <a:endParaRPr lang="en-US"/>
        </a:p>
      </dgm:t>
    </dgm:pt>
    <dgm:pt modelId="{5BAD3FDE-D1E2-4D69-B3BE-7606EBB6481A}" type="sibTrans" cxnId="{AC766066-8773-49BB-9AE5-D790E8A1820B}">
      <dgm:prSet/>
      <dgm:spPr/>
      <dgm:t>
        <a:bodyPr/>
        <a:lstStyle/>
        <a:p>
          <a:endParaRPr lang="en-US"/>
        </a:p>
      </dgm:t>
    </dgm:pt>
    <dgm:pt modelId="{2D101C34-D70B-4732-8A77-2FCC18F179F5}">
      <dgm:prSet/>
      <dgm:spPr/>
      <dgm:t>
        <a:bodyPr/>
        <a:lstStyle/>
        <a:p>
          <a:r>
            <a:rPr lang="en-US" dirty="0"/>
            <a:t>Root‑cause the 155 fulfillment outliers and set SLAs</a:t>
          </a:r>
        </a:p>
      </dgm:t>
    </dgm:pt>
    <dgm:pt modelId="{E052CE2B-44A1-460D-90B6-B8EAB7EE21A7}" type="parTrans" cxnId="{94C69EB6-841F-4836-8274-0443E844997F}">
      <dgm:prSet/>
      <dgm:spPr/>
      <dgm:t>
        <a:bodyPr/>
        <a:lstStyle/>
        <a:p>
          <a:endParaRPr lang="en-US"/>
        </a:p>
      </dgm:t>
    </dgm:pt>
    <dgm:pt modelId="{FB27B92D-43BA-4C4D-A8D6-C4252ABCDB5B}" type="sibTrans" cxnId="{94C69EB6-841F-4836-8274-0443E844997F}">
      <dgm:prSet/>
      <dgm:spPr/>
      <dgm:t>
        <a:bodyPr/>
        <a:lstStyle/>
        <a:p>
          <a:endParaRPr lang="en-US"/>
        </a:p>
      </dgm:t>
    </dgm:pt>
    <dgm:pt modelId="{767D8BF6-B905-40AE-BA3E-5972A2BEE46D}">
      <dgm:prSet/>
      <dgm:spPr/>
      <dgm:t>
        <a:bodyPr/>
        <a:lstStyle/>
        <a:p>
          <a:r>
            <a:rPr lang="en-US"/>
            <a:t>Key risks &amp; mitigations</a:t>
          </a:r>
        </a:p>
      </dgm:t>
    </dgm:pt>
    <dgm:pt modelId="{28904B1E-9956-4C62-8DEF-99EC005BEB9B}" type="parTrans" cxnId="{3507062B-9485-4C4D-A137-0A202A8DFD7C}">
      <dgm:prSet/>
      <dgm:spPr/>
      <dgm:t>
        <a:bodyPr/>
        <a:lstStyle/>
        <a:p>
          <a:endParaRPr lang="en-US"/>
        </a:p>
      </dgm:t>
    </dgm:pt>
    <dgm:pt modelId="{A6C5557E-3FB7-49E2-8D44-479A9ED751B2}" type="sibTrans" cxnId="{3507062B-9485-4C4D-A137-0A202A8DFD7C}">
      <dgm:prSet phldrT="02" phldr="0"/>
      <dgm:spPr/>
      <dgm:t>
        <a:bodyPr/>
        <a:lstStyle/>
        <a:p>
          <a:endParaRPr lang="en-US"/>
        </a:p>
      </dgm:t>
    </dgm:pt>
    <dgm:pt modelId="{A40330B8-DB0C-416D-9416-81962E667688}">
      <dgm:prSet/>
      <dgm:spPr/>
      <dgm:t>
        <a:bodyPr/>
        <a:lstStyle/>
        <a:p>
          <a:r>
            <a:rPr lang="en-US"/>
            <a:t>Data leakage / false precision → strict time‑split validation &amp; feature audit</a:t>
          </a:r>
        </a:p>
      </dgm:t>
    </dgm:pt>
    <dgm:pt modelId="{32E54004-44E5-460E-9F14-436BFC9506C8}" type="parTrans" cxnId="{9CD23EC5-3679-4A43-8871-B37AFF07A923}">
      <dgm:prSet/>
      <dgm:spPr/>
      <dgm:t>
        <a:bodyPr/>
        <a:lstStyle/>
        <a:p>
          <a:endParaRPr lang="en-US"/>
        </a:p>
      </dgm:t>
    </dgm:pt>
    <dgm:pt modelId="{6BABD025-7645-4350-ACEE-5F33E30EF373}" type="sibTrans" cxnId="{9CD23EC5-3679-4A43-8871-B37AFF07A923}">
      <dgm:prSet/>
      <dgm:spPr/>
      <dgm:t>
        <a:bodyPr/>
        <a:lstStyle/>
        <a:p>
          <a:endParaRPr lang="en-US"/>
        </a:p>
      </dgm:t>
    </dgm:pt>
    <dgm:pt modelId="{10B1B7E7-FFBD-4780-8A37-352B947E1125}">
      <dgm:prSet/>
      <dgm:spPr/>
      <dgm:t>
        <a:bodyPr/>
        <a:lstStyle/>
        <a:p>
          <a:r>
            <a:rPr lang="en-US"/>
            <a:t>Supply chain shocks → dual‑sourcing &amp; inventory buffers for peak SKUs</a:t>
          </a:r>
        </a:p>
      </dgm:t>
    </dgm:pt>
    <dgm:pt modelId="{BF652AC8-F001-49FA-97B1-8A51595D77CB}" type="parTrans" cxnId="{DB2ED55D-C203-4FE9-BADA-11F24033FD9A}">
      <dgm:prSet/>
      <dgm:spPr/>
      <dgm:t>
        <a:bodyPr/>
        <a:lstStyle/>
        <a:p>
          <a:endParaRPr lang="en-US"/>
        </a:p>
      </dgm:t>
    </dgm:pt>
    <dgm:pt modelId="{775590DD-06C8-4EBA-9FFD-F06439531C86}" type="sibTrans" cxnId="{DB2ED55D-C203-4FE9-BADA-11F24033FD9A}">
      <dgm:prSet/>
      <dgm:spPr/>
      <dgm:t>
        <a:bodyPr/>
        <a:lstStyle/>
        <a:p>
          <a:endParaRPr lang="en-US"/>
        </a:p>
      </dgm:t>
    </dgm:pt>
    <dgm:pt modelId="{51C250D3-4682-4AE0-ACE6-239962EF5543}">
      <dgm:prSet/>
      <dgm:spPr/>
      <dgm:t>
        <a:bodyPr/>
        <a:lstStyle/>
        <a:p>
          <a:r>
            <a:rPr lang="en-US"/>
            <a:t>Customer backlash to price tests → guardrails + A/B with holdouts</a:t>
          </a:r>
        </a:p>
      </dgm:t>
    </dgm:pt>
    <dgm:pt modelId="{E90B7A03-ED92-48E7-B91C-3E164E3F75F5}" type="parTrans" cxnId="{ACAC4D50-D063-4357-A1C1-1D7995298D66}">
      <dgm:prSet/>
      <dgm:spPr/>
      <dgm:t>
        <a:bodyPr/>
        <a:lstStyle/>
        <a:p>
          <a:endParaRPr lang="en-US"/>
        </a:p>
      </dgm:t>
    </dgm:pt>
    <dgm:pt modelId="{80C71F7B-4BCC-4B30-8A4D-05D3460B4FEF}" type="sibTrans" cxnId="{ACAC4D50-D063-4357-A1C1-1D7995298D66}">
      <dgm:prSet/>
      <dgm:spPr/>
      <dgm:t>
        <a:bodyPr/>
        <a:lstStyle/>
        <a:p>
          <a:endParaRPr lang="en-US"/>
        </a:p>
      </dgm:t>
    </dgm:pt>
    <dgm:pt modelId="{C9EB6CA1-31F4-46AD-B481-178D52A532F6}">
      <dgm:prSet/>
      <dgm:spPr/>
      <dgm:t>
        <a:bodyPr/>
        <a:lstStyle/>
        <a:p>
          <a:r>
            <a:rPr lang="en-US"/>
            <a:t>Geography expansion cost creep → weekly CM monitoring &amp; kill‑switches</a:t>
          </a:r>
        </a:p>
      </dgm:t>
    </dgm:pt>
    <dgm:pt modelId="{B8A50085-BCA4-4DE7-AB8B-9F74921052A0}" type="parTrans" cxnId="{35EACCAB-CEA9-4215-A9E0-C54CABD66D69}">
      <dgm:prSet/>
      <dgm:spPr/>
      <dgm:t>
        <a:bodyPr/>
        <a:lstStyle/>
        <a:p>
          <a:endParaRPr lang="en-US"/>
        </a:p>
      </dgm:t>
    </dgm:pt>
    <dgm:pt modelId="{2D17D8BA-A547-4F3A-8410-813D866C26AD}" type="sibTrans" cxnId="{35EACCAB-CEA9-4215-A9E0-C54CABD66D69}">
      <dgm:prSet/>
      <dgm:spPr/>
      <dgm:t>
        <a:bodyPr/>
        <a:lstStyle/>
        <a:p>
          <a:endParaRPr lang="en-US"/>
        </a:p>
      </dgm:t>
    </dgm:pt>
    <dgm:pt modelId="{591C394F-BBA0-DB40-8B19-130550E7B98D}" type="pres">
      <dgm:prSet presAssocID="{260A42C4-EE31-4578-BD4A-31BC56FE9DB6}" presName="linear" presStyleCnt="0">
        <dgm:presLayoutVars>
          <dgm:dir/>
          <dgm:animLvl val="lvl"/>
          <dgm:resizeHandles val="exact"/>
        </dgm:presLayoutVars>
      </dgm:prSet>
      <dgm:spPr/>
    </dgm:pt>
    <dgm:pt modelId="{BD784DD5-A4EA-A74F-9BB7-54E4C8DC9588}" type="pres">
      <dgm:prSet presAssocID="{A05A9FF1-326B-4A33-9483-A45D3BAF077D}" presName="parentLin" presStyleCnt="0"/>
      <dgm:spPr/>
    </dgm:pt>
    <dgm:pt modelId="{BC813647-34B7-C34E-98D4-165E11699395}" type="pres">
      <dgm:prSet presAssocID="{A05A9FF1-326B-4A33-9483-A45D3BAF077D}" presName="parentLeftMargin" presStyleLbl="node1" presStyleIdx="0" presStyleCnt="2"/>
      <dgm:spPr/>
    </dgm:pt>
    <dgm:pt modelId="{41860004-D59F-D84D-83D4-F4B4418DD371}" type="pres">
      <dgm:prSet presAssocID="{A05A9FF1-326B-4A33-9483-A45D3BAF077D}" presName="parentText" presStyleLbl="node1" presStyleIdx="0" presStyleCnt="2">
        <dgm:presLayoutVars>
          <dgm:chMax val="0"/>
          <dgm:bulletEnabled val="1"/>
        </dgm:presLayoutVars>
      </dgm:prSet>
      <dgm:spPr/>
    </dgm:pt>
    <dgm:pt modelId="{5E20529D-C465-D843-9C7F-0ACF10FA5335}" type="pres">
      <dgm:prSet presAssocID="{A05A9FF1-326B-4A33-9483-A45D3BAF077D}" presName="negativeSpace" presStyleCnt="0"/>
      <dgm:spPr/>
    </dgm:pt>
    <dgm:pt modelId="{02FCA323-D1AE-0A48-A699-3F4B1755A66D}" type="pres">
      <dgm:prSet presAssocID="{A05A9FF1-326B-4A33-9483-A45D3BAF077D}" presName="childText" presStyleLbl="conFgAcc1" presStyleIdx="0" presStyleCnt="2">
        <dgm:presLayoutVars>
          <dgm:bulletEnabled val="1"/>
        </dgm:presLayoutVars>
      </dgm:prSet>
      <dgm:spPr/>
    </dgm:pt>
    <dgm:pt modelId="{55D591C1-B280-AF4E-8EB0-BB3C9755CE4B}" type="pres">
      <dgm:prSet presAssocID="{7E003A1B-6CB5-4C01-B745-4F624C632AC6}" presName="spaceBetweenRectangles" presStyleCnt="0"/>
      <dgm:spPr/>
    </dgm:pt>
    <dgm:pt modelId="{6A698013-736C-EE4F-A512-247484F9A021}" type="pres">
      <dgm:prSet presAssocID="{767D8BF6-B905-40AE-BA3E-5972A2BEE46D}" presName="parentLin" presStyleCnt="0"/>
      <dgm:spPr/>
    </dgm:pt>
    <dgm:pt modelId="{0791EA41-7ACB-AC40-9142-FF3F9B0AD404}" type="pres">
      <dgm:prSet presAssocID="{767D8BF6-B905-40AE-BA3E-5972A2BEE46D}" presName="parentLeftMargin" presStyleLbl="node1" presStyleIdx="0" presStyleCnt="2"/>
      <dgm:spPr/>
    </dgm:pt>
    <dgm:pt modelId="{526856E6-BC9F-334E-879A-5796E30116AE}" type="pres">
      <dgm:prSet presAssocID="{767D8BF6-B905-40AE-BA3E-5972A2BEE46D}" presName="parentText" presStyleLbl="node1" presStyleIdx="1" presStyleCnt="2">
        <dgm:presLayoutVars>
          <dgm:chMax val="0"/>
          <dgm:bulletEnabled val="1"/>
        </dgm:presLayoutVars>
      </dgm:prSet>
      <dgm:spPr/>
    </dgm:pt>
    <dgm:pt modelId="{6186067C-F733-CA47-B41B-A39080D75D40}" type="pres">
      <dgm:prSet presAssocID="{767D8BF6-B905-40AE-BA3E-5972A2BEE46D}" presName="negativeSpace" presStyleCnt="0"/>
      <dgm:spPr/>
    </dgm:pt>
    <dgm:pt modelId="{0AC252AC-6940-B446-9194-047AB01DE84F}" type="pres">
      <dgm:prSet presAssocID="{767D8BF6-B905-40AE-BA3E-5972A2BEE46D}" presName="childText" presStyleLbl="conFgAcc1" presStyleIdx="1" presStyleCnt="2">
        <dgm:presLayoutVars>
          <dgm:bulletEnabled val="1"/>
        </dgm:presLayoutVars>
      </dgm:prSet>
      <dgm:spPr/>
    </dgm:pt>
  </dgm:ptLst>
  <dgm:cxnLst>
    <dgm:cxn modelId="{02B17604-4F11-4C45-9052-BB047513731D}" type="presOf" srcId="{98423DFB-1106-4C1A-8BB2-518E8389476E}" destId="{02FCA323-D1AE-0A48-A699-3F4B1755A66D}" srcOrd="0" destOrd="1" presId="urn:microsoft.com/office/officeart/2005/8/layout/list1"/>
    <dgm:cxn modelId="{3507062B-9485-4C4D-A137-0A202A8DFD7C}" srcId="{260A42C4-EE31-4578-BD4A-31BC56FE9DB6}" destId="{767D8BF6-B905-40AE-BA3E-5972A2BEE46D}" srcOrd="1" destOrd="0" parTransId="{28904B1E-9956-4C62-8DEF-99EC005BEB9B}" sibTransId="{A6C5557E-3FB7-49E2-8D44-479A9ED751B2}"/>
    <dgm:cxn modelId="{3F06673B-4FFE-8C4C-BE68-438123BBB2BC}" type="presOf" srcId="{767D8BF6-B905-40AE-BA3E-5972A2BEE46D}" destId="{0791EA41-7ACB-AC40-9142-FF3F9B0AD404}" srcOrd="0" destOrd="0" presId="urn:microsoft.com/office/officeart/2005/8/layout/list1"/>
    <dgm:cxn modelId="{2D1E2144-15DA-7A43-AA44-A63325BC7224}" type="presOf" srcId="{C9EB6CA1-31F4-46AD-B481-178D52A532F6}" destId="{0AC252AC-6940-B446-9194-047AB01DE84F}" srcOrd="0" destOrd="3" presId="urn:microsoft.com/office/officeart/2005/8/layout/list1"/>
    <dgm:cxn modelId="{13D12E4F-A4DB-874E-ACBC-D9B350C115AA}" type="presOf" srcId="{A05A9FF1-326B-4A33-9483-A45D3BAF077D}" destId="{41860004-D59F-D84D-83D4-F4B4418DD371}" srcOrd="1" destOrd="0" presId="urn:microsoft.com/office/officeart/2005/8/layout/list1"/>
    <dgm:cxn modelId="{ACAC4D50-D063-4357-A1C1-1D7995298D66}" srcId="{767D8BF6-B905-40AE-BA3E-5972A2BEE46D}" destId="{51C250D3-4682-4AE0-ACE6-239962EF5543}" srcOrd="2" destOrd="0" parTransId="{E90B7A03-ED92-48E7-B91C-3E164E3F75F5}" sibTransId="{80C71F7B-4BCC-4B30-8A4D-05D3460B4FEF}"/>
    <dgm:cxn modelId="{92BA125B-FD3D-4C4B-B3BE-CC27A4AB0D0B}" type="presOf" srcId="{767D8BF6-B905-40AE-BA3E-5972A2BEE46D}" destId="{526856E6-BC9F-334E-879A-5796E30116AE}" srcOrd="1" destOrd="0" presId="urn:microsoft.com/office/officeart/2005/8/layout/list1"/>
    <dgm:cxn modelId="{DB2ED55D-C203-4FE9-BADA-11F24033FD9A}" srcId="{767D8BF6-B905-40AE-BA3E-5972A2BEE46D}" destId="{10B1B7E7-FFBD-4780-8A37-352B947E1125}" srcOrd="1" destOrd="0" parTransId="{BF652AC8-F001-49FA-97B1-8A51595D77CB}" sibTransId="{775590DD-06C8-4EBA-9FFD-F06439531C86}"/>
    <dgm:cxn modelId="{E07B0162-3EDB-7D49-AAB1-22C6D570653D}" type="presOf" srcId="{260A42C4-EE31-4578-BD4A-31BC56FE9DB6}" destId="{591C394F-BBA0-DB40-8B19-130550E7B98D}" srcOrd="0" destOrd="0" presId="urn:microsoft.com/office/officeart/2005/8/layout/list1"/>
    <dgm:cxn modelId="{AC766066-8773-49BB-9AE5-D790E8A1820B}" srcId="{A05A9FF1-326B-4A33-9483-A45D3BAF077D}" destId="{98423DFB-1106-4C1A-8BB2-518E8389476E}" srcOrd="1" destOrd="0" parTransId="{7A0072A7-7843-4781-AFEF-FD0823D212BA}" sibTransId="{5BAD3FDE-D1E2-4D69-B3BE-7606EBB6481A}"/>
    <dgm:cxn modelId="{A3CA0667-F567-D548-81DB-25E0CBC45D8E}" type="presOf" srcId="{1E0B3CF5-4D6E-48C8-B5C2-BB987C4347E1}" destId="{02FCA323-D1AE-0A48-A699-3F4B1755A66D}" srcOrd="0" destOrd="0" presId="urn:microsoft.com/office/officeart/2005/8/layout/list1"/>
    <dgm:cxn modelId="{79BFA396-84E8-49AB-9D4D-7781DFE3D149}" srcId="{260A42C4-EE31-4578-BD4A-31BC56FE9DB6}" destId="{A05A9FF1-326B-4A33-9483-A45D3BAF077D}" srcOrd="0" destOrd="0" parTransId="{30A0A750-C250-4DB8-B26C-38AF572C4BF5}" sibTransId="{7E003A1B-6CB5-4C01-B745-4F624C632AC6}"/>
    <dgm:cxn modelId="{35EACCAB-CEA9-4215-A9E0-C54CABD66D69}" srcId="{767D8BF6-B905-40AE-BA3E-5972A2BEE46D}" destId="{C9EB6CA1-31F4-46AD-B481-178D52A532F6}" srcOrd="3" destOrd="0" parTransId="{B8A50085-BCA4-4DE7-AB8B-9F74921052A0}" sibTransId="{2D17D8BA-A547-4F3A-8410-813D866C26AD}"/>
    <dgm:cxn modelId="{EF0FDBB4-7F4A-8241-B6C3-93A192AC8341}" type="presOf" srcId="{A40330B8-DB0C-416D-9416-81962E667688}" destId="{0AC252AC-6940-B446-9194-047AB01DE84F}" srcOrd="0" destOrd="0" presId="urn:microsoft.com/office/officeart/2005/8/layout/list1"/>
    <dgm:cxn modelId="{94C69EB6-841F-4836-8274-0443E844997F}" srcId="{A05A9FF1-326B-4A33-9483-A45D3BAF077D}" destId="{2D101C34-D70B-4732-8A77-2FCC18F179F5}" srcOrd="2" destOrd="0" parTransId="{E052CE2B-44A1-460D-90B6-B8EAB7EE21A7}" sibTransId="{FB27B92D-43BA-4C4D-A8D6-C4252ABCDB5B}"/>
    <dgm:cxn modelId="{9C320FBF-B5ED-436F-B2AC-B47A7D99C7CC}" srcId="{A05A9FF1-326B-4A33-9483-A45D3BAF077D}" destId="{1E0B3CF5-4D6E-48C8-B5C2-BB987C4347E1}" srcOrd="0" destOrd="0" parTransId="{AA6E732A-011B-4FD6-BA3A-945603460FF4}" sibTransId="{0B5B72A1-62D8-45E0-BF52-09778805431E}"/>
    <dgm:cxn modelId="{194D34BF-6B71-674E-82F9-34EE4264C9F7}" type="presOf" srcId="{2D101C34-D70B-4732-8A77-2FCC18F179F5}" destId="{02FCA323-D1AE-0A48-A699-3F4B1755A66D}" srcOrd="0" destOrd="2" presId="urn:microsoft.com/office/officeart/2005/8/layout/list1"/>
    <dgm:cxn modelId="{9CD23EC5-3679-4A43-8871-B37AFF07A923}" srcId="{767D8BF6-B905-40AE-BA3E-5972A2BEE46D}" destId="{A40330B8-DB0C-416D-9416-81962E667688}" srcOrd="0" destOrd="0" parTransId="{32E54004-44E5-460E-9F14-436BFC9506C8}" sibTransId="{6BABD025-7645-4350-ACEE-5F33E30EF373}"/>
    <dgm:cxn modelId="{5D63CAD0-A82B-A64C-BA83-00002F5AB807}" type="presOf" srcId="{51C250D3-4682-4AE0-ACE6-239962EF5543}" destId="{0AC252AC-6940-B446-9194-047AB01DE84F}" srcOrd="0" destOrd="2" presId="urn:microsoft.com/office/officeart/2005/8/layout/list1"/>
    <dgm:cxn modelId="{2553BADF-F96C-0640-95E5-D8599058BCB5}" type="presOf" srcId="{A05A9FF1-326B-4A33-9483-A45D3BAF077D}" destId="{BC813647-34B7-C34E-98D4-165E11699395}" srcOrd="0" destOrd="0" presId="urn:microsoft.com/office/officeart/2005/8/layout/list1"/>
    <dgm:cxn modelId="{387536F8-24A2-554E-842F-E61D55421352}" type="presOf" srcId="{10B1B7E7-FFBD-4780-8A37-352B947E1125}" destId="{0AC252AC-6940-B446-9194-047AB01DE84F}" srcOrd="0" destOrd="1" presId="urn:microsoft.com/office/officeart/2005/8/layout/list1"/>
    <dgm:cxn modelId="{68034AA7-2430-A14B-8384-8901BFBB614B}" type="presParOf" srcId="{591C394F-BBA0-DB40-8B19-130550E7B98D}" destId="{BD784DD5-A4EA-A74F-9BB7-54E4C8DC9588}" srcOrd="0" destOrd="0" presId="urn:microsoft.com/office/officeart/2005/8/layout/list1"/>
    <dgm:cxn modelId="{687108DC-EBC4-5D41-9C53-C82183D6E648}" type="presParOf" srcId="{BD784DD5-A4EA-A74F-9BB7-54E4C8DC9588}" destId="{BC813647-34B7-C34E-98D4-165E11699395}" srcOrd="0" destOrd="0" presId="urn:microsoft.com/office/officeart/2005/8/layout/list1"/>
    <dgm:cxn modelId="{945D99F8-3BD8-8F4A-8361-9E21424DED73}" type="presParOf" srcId="{BD784DD5-A4EA-A74F-9BB7-54E4C8DC9588}" destId="{41860004-D59F-D84D-83D4-F4B4418DD371}" srcOrd="1" destOrd="0" presId="urn:microsoft.com/office/officeart/2005/8/layout/list1"/>
    <dgm:cxn modelId="{B58F4CD1-5DE0-A448-A93A-B927B1D276F3}" type="presParOf" srcId="{591C394F-BBA0-DB40-8B19-130550E7B98D}" destId="{5E20529D-C465-D843-9C7F-0ACF10FA5335}" srcOrd="1" destOrd="0" presId="urn:microsoft.com/office/officeart/2005/8/layout/list1"/>
    <dgm:cxn modelId="{AC949FA7-AF20-9247-B601-ABB48BAD6FAE}" type="presParOf" srcId="{591C394F-BBA0-DB40-8B19-130550E7B98D}" destId="{02FCA323-D1AE-0A48-A699-3F4B1755A66D}" srcOrd="2" destOrd="0" presId="urn:microsoft.com/office/officeart/2005/8/layout/list1"/>
    <dgm:cxn modelId="{2808F9BA-2417-F94F-A8F6-B9E8F66D6EEB}" type="presParOf" srcId="{591C394F-BBA0-DB40-8B19-130550E7B98D}" destId="{55D591C1-B280-AF4E-8EB0-BB3C9755CE4B}" srcOrd="3" destOrd="0" presId="urn:microsoft.com/office/officeart/2005/8/layout/list1"/>
    <dgm:cxn modelId="{32034A9A-07C0-3645-A7D4-A852C3F859ED}" type="presParOf" srcId="{591C394F-BBA0-DB40-8B19-130550E7B98D}" destId="{6A698013-736C-EE4F-A512-247484F9A021}" srcOrd="4" destOrd="0" presId="urn:microsoft.com/office/officeart/2005/8/layout/list1"/>
    <dgm:cxn modelId="{1179453E-C905-D949-B048-98B9373660F1}" type="presParOf" srcId="{6A698013-736C-EE4F-A512-247484F9A021}" destId="{0791EA41-7ACB-AC40-9142-FF3F9B0AD404}" srcOrd="0" destOrd="0" presId="urn:microsoft.com/office/officeart/2005/8/layout/list1"/>
    <dgm:cxn modelId="{0D48E07F-653F-2B45-8D75-48376D657D7B}" type="presParOf" srcId="{6A698013-736C-EE4F-A512-247484F9A021}" destId="{526856E6-BC9F-334E-879A-5796E30116AE}" srcOrd="1" destOrd="0" presId="urn:microsoft.com/office/officeart/2005/8/layout/list1"/>
    <dgm:cxn modelId="{1B675729-046C-5845-A654-371185D7469D}" type="presParOf" srcId="{591C394F-BBA0-DB40-8B19-130550E7B98D}" destId="{6186067C-F733-CA47-B41B-A39080D75D40}" srcOrd="5" destOrd="0" presId="urn:microsoft.com/office/officeart/2005/8/layout/list1"/>
    <dgm:cxn modelId="{F17971BB-A115-0940-A745-53D0338955C7}" type="presParOf" srcId="{591C394F-BBA0-DB40-8B19-130550E7B98D}" destId="{0AC252AC-6940-B446-9194-047AB01DE84F}" srcOrd="6"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FCA323-D1AE-0A48-A699-3F4B1755A66D}">
      <dsp:nvSpPr>
        <dsp:cNvPr id="0" name=""/>
        <dsp:cNvSpPr/>
      </dsp:nvSpPr>
      <dsp:spPr>
        <a:xfrm>
          <a:off x="0" y="473070"/>
          <a:ext cx="5175384" cy="198135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1667" tIns="354076" rIns="401667"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Lock driver tree &amp; non‑leaky model; finalize target segment list</a:t>
          </a:r>
        </a:p>
        <a:p>
          <a:pPr marL="171450" lvl="1" indent="-171450" algn="l" defTabSz="755650">
            <a:lnSpc>
              <a:spcPct val="90000"/>
            </a:lnSpc>
            <a:spcBef>
              <a:spcPct val="0"/>
            </a:spcBef>
            <a:spcAft>
              <a:spcPct val="15000"/>
            </a:spcAft>
            <a:buChar char="•"/>
          </a:pPr>
          <a:r>
            <a:rPr lang="en-US" sz="1700" kern="1200" dirty="0"/>
            <a:t>Kick off SKU margin audit &amp; Clothing cost‑to‑serve</a:t>
          </a:r>
        </a:p>
        <a:p>
          <a:pPr marL="171450" lvl="1" indent="-171450" algn="l" defTabSz="755650">
            <a:lnSpc>
              <a:spcPct val="90000"/>
            </a:lnSpc>
            <a:spcBef>
              <a:spcPct val="0"/>
            </a:spcBef>
            <a:spcAft>
              <a:spcPct val="15000"/>
            </a:spcAft>
            <a:buChar char="•"/>
          </a:pPr>
          <a:r>
            <a:rPr lang="en-US" sz="1700" kern="1200" dirty="0"/>
            <a:t>Root‑cause the 155 fulfillment outliers and set SLAs</a:t>
          </a:r>
        </a:p>
      </dsp:txBody>
      <dsp:txXfrm>
        <a:off x="0" y="473070"/>
        <a:ext cx="5175384" cy="1981350"/>
      </dsp:txXfrm>
    </dsp:sp>
    <dsp:sp modelId="{41860004-D59F-D84D-83D4-F4B4418DD371}">
      <dsp:nvSpPr>
        <dsp:cNvPr id="0" name=""/>
        <dsp:cNvSpPr/>
      </dsp:nvSpPr>
      <dsp:spPr>
        <a:xfrm>
          <a:off x="258769" y="222150"/>
          <a:ext cx="3622768" cy="5018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6932" tIns="0" rIns="136932" bIns="0" numCol="1" spcCol="1270" anchor="ctr" anchorCtr="0">
          <a:noAutofit/>
        </a:bodyPr>
        <a:lstStyle/>
        <a:p>
          <a:pPr marL="0" lvl="0" indent="0" algn="l" defTabSz="755650">
            <a:lnSpc>
              <a:spcPct val="90000"/>
            </a:lnSpc>
            <a:spcBef>
              <a:spcPct val="0"/>
            </a:spcBef>
            <a:spcAft>
              <a:spcPct val="35000"/>
            </a:spcAft>
            <a:buNone/>
          </a:pPr>
          <a:r>
            <a:rPr lang="en-US" sz="1700" kern="1200"/>
            <a:t>Immediate next steps (next 2 weeks)</a:t>
          </a:r>
        </a:p>
      </dsp:txBody>
      <dsp:txXfrm>
        <a:off x="283267" y="246648"/>
        <a:ext cx="3573772" cy="452844"/>
      </dsp:txXfrm>
    </dsp:sp>
    <dsp:sp modelId="{0AC252AC-6940-B446-9194-047AB01DE84F}">
      <dsp:nvSpPr>
        <dsp:cNvPr id="0" name=""/>
        <dsp:cNvSpPr/>
      </dsp:nvSpPr>
      <dsp:spPr>
        <a:xfrm>
          <a:off x="0" y="2797140"/>
          <a:ext cx="5175384" cy="2516849"/>
        </a:xfrm>
        <a:prstGeom prst="rect">
          <a:avLst/>
        </a:prstGeom>
        <a:solidFill>
          <a:schemeClr val="lt1">
            <a:alpha val="90000"/>
            <a:hueOff val="0"/>
            <a:satOff val="0"/>
            <a:lumOff val="0"/>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1667" tIns="354076" rIns="401667"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Data leakage / false precision → strict time‑split validation &amp; feature audit</a:t>
          </a:r>
        </a:p>
        <a:p>
          <a:pPr marL="171450" lvl="1" indent="-171450" algn="l" defTabSz="755650">
            <a:lnSpc>
              <a:spcPct val="90000"/>
            </a:lnSpc>
            <a:spcBef>
              <a:spcPct val="0"/>
            </a:spcBef>
            <a:spcAft>
              <a:spcPct val="15000"/>
            </a:spcAft>
            <a:buChar char="•"/>
          </a:pPr>
          <a:r>
            <a:rPr lang="en-US" sz="1700" kern="1200"/>
            <a:t>Supply chain shocks → dual‑sourcing &amp; inventory buffers for peak SKUs</a:t>
          </a:r>
        </a:p>
        <a:p>
          <a:pPr marL="171450" lvl="1" indent="-171450" algn="l" defTabSz="755650">
            <a:lnSpc>
              <a:spcPct val="90000"/>
            </a:lnSpc>
            <a:spcBef>
              <a:spcPct val="0"/>
            </a:spcBef>
            <a:spcAft>
              <a:spcPct val="15000"/>
            </a:spcAft>
            <a:buChar char="•"/>
          </a:pPr>
          <a:r>
            <a:rPr lang="en-US" sz="1700" kern="1200"/>
            <a:t>Customer backlash to price tests → guardrails + A/B with holdouts</a:t>
          </a:r>
        </a:p>
        <a:p>
          <a:pPr marL="171450" lvl="1" indent="-171450" algn="l" defTabSz="755650">
            <a:lnSpc>
              <a:spcPct val="90000"/>
            </a:lnSpc>
            <a:spcBef>
              <a:spcPct val="0"/>
            </a:spcBef>
            <a:spcAft>
              <a:spcPct val="15000"/>
            </a:spcAft>
            <a:buChar char="•"/>
          </a:pPr>
          <a:r>
            <a:rPr lang="en-US" sz="1700" kern="1200"/>
            <a:t>Geography expansion cost creep → weekly CM monitoring &amp; kill‑switches</a:t>
          </a:r>
        </a:p>
      </dsp:txBody>
      <dsp:txXfrm>
        <a:off x="0" y="2797140"/>
        <a:ext cx="5175384" cy="2516849"/>
      </dsp:txXfrm>
    </dsp:sp>
    <dsp:sp modelId="{526856E6-BC9F-334E-879A-5796E30116AE}">
      <dsp:nvSpPr>
        <dsp:cNvPr id="0" name=""/>
        <dsp:cNvSpPr/>
      </dsp:nvSpPr>
      <dsp:spPr>
        <a:xfrm>
          <a:off x="258769" y="2546220"/>
          <a:ext cx="3622768" cy="501840"/>
        </a:xfrm>
        <a:prstGeom prst="roundRect">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6932" tIns="0" rIns="136932" bIns="0" numCol="1" spcCol="1270" anchor="ctr" anchorCtr="0">
          <a:noAutofit/>
        </a:bodyPr>
        <a:lstStyle/>
        <a:p>
          <a:pPr marL="0" lvl="0" indent="0" algn="l" defTabSz="755650">
            <a:lnSpc>
              <a:spcPct val="90000"/>
            </a:lnSpc>
            <a:spcBef>
              <a:spcPct val="0"/>
            </a:spcBef>
            <a:spcAft>
              <a:spcPct val="35000"/>
            </a:spcAft>
            <a:buNone/>
          </a:pPr>
          <a:r>
            <a:rPr lang="en-US" sz="1700" kern="1200"/>
            <a:t>Key risks &amp; mitigations</a:t>
          </a:r>
        </a:p>
      </dsp:txBody>
      <dsp:txXfrm>
        <a:off x="283267" y="2570718"/>
        <a:ext cx="3573772" cy="45284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AA5A17-F0D4-244D-8224-82BE8C681656}" type="datetimeFigureOut">
              <a:rPr lang="en-US" smtClean="0"/>
              <a:t>8/16/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46179B-63E2-574C-894C-D69DE2A9F5FE}" type="slidenum">
              <a:rPr lang="en-US" smtClean="0"/>
              <a:t>‹#›</a:t>
            </a:fld>
            <a:endParaRPr lang="en-US"/>
          </a:p>
        </p:txBody>
      </p:sp>
    </p:spTree>
    <p:extLst>
      <p:ext uri="{BB962C8B-B14F-4D97-AF65-F5344CB8AC3E}">
        <p14:creationId xmlns:p14="http://schemas.microsoft.com/office/powerpoint/2010/main" val="41107583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A46179B-63E2-574C-894C-D69DE2A9F5FE}" type="slidenum">
              <a:rPr lang="en-US" smtClean="0"/>
              <a:t>1</a:t>
            </a:fld>
            <a:endParaRPr lang="en-US"/>
          </a:p>
        </p:txBody>
      </p:sp>
    </p:spTree>
    <p:extLst>
      <p:ext uri="{BB962C8B-B14F-4D97-AF65-F5344CB8AC3E}">
        <p14:creationId xmlns:p14="http://schemas.microsoft.com/office/powerpoint/2010/main" val="954094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d on the discussed insights so far, we believe the</a:t>
            </a:r>
            <a:r>
              <a:rPr lang="en-US" baseline="0" dirty="0"/>
              <a:t> value creation levers will focus on:1 Doubling down on high </a:t>
            </a:r>
            <a:r>
              <a:rPr lang="en-US" baseline="0" dirty="0" err="1"/>
              <a:t>vakue</a:t>
            </a:r>
            <a:r>
              <a:rPr lang="en-US" baseline="0" dirty="0"/>
              <a:t> consumer 2. Reducing cost via SKU &amp; Mix </a:t>
            </a:r>
            <a:r>
              <a:rPr lang="en-US" baseline="0" dirty="0" err="1"/>
              <a:t>optimisaiton</a:t>
            </a:r>
            <a:r>
              <a:rPr lang="en-US" baseline="0" dirty="0"/>
              <a:t> and 3) Cost optimization via operations and fulfillment. Together these levers will improve our cost of operations while continuing to fulfill accelerated sales demand.</a:t>
            </a:r>
            <a:endParaRPr lang="en-US" dirty="0"/>
          </a:p>
        </p:txBody>
      </p:sp>
      <p:sp>
        <p:nvSpPr>
          <p:cNvPr id="4" name="Slide Number Placeholder 3"/>
          <p:cNvSpPr>
            <a:spLocks noGrp="1"/>
          </p:cNvSpPr>
          <p:nvPr>
            <p:ph type="sldNum" sz="quarter" idx="5"/>
          </p:nvPr>
        </p:nvSpPr>
        <p:spPr/>
        <p:txBody>
          <a:bodyPr/>
          <a:lstStyle/>
          <a:p>
            <a:fld id="{FA46179B-63E2-574C-894C-D69DE2A9F5FE}" type="slidenum">
              <a:rPr lang="en-US" smtClean="0"/>
              <a:t>7</a:t>
            </a:fld>
            <a:endParaRPr lang="en-US"/>
          </a:p>
        </p:txBody>
      </p:sp>
    </p:spTree>
    <p:extLst>
      <p:ext uri="{BB962C8B-B14F-4D97-AF65-F5344CB8AC3E}">
        <p14:creationId xmlns:p14="http://schemas.microsoft.com/office/powerpoint/2010/main" val="983974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a clear timebound</a:t>
            </a:r>
            <a:r>
              <a:rPr lang="en-US" baseline="0" dirty="0"/>
              <a:t> plan with success thresholds to put these levers into action and request the following resources to action on these recommendations.</a:t>
            </a:r>
            <a:endParaRPr lang="en-US" dirty="0"/>
          </a:p>
        </p:txBody>
      </p:sp>
      <p:sp>
        <p:nvSpPr>
          <p:cNvPr id="4" name="Slide Number Placeholder 3"/>
          <p:cNvSpPr>
            <a:spLocks noGrp="1"/>
          </p:cNvSpPr>
          <p:nvPr>
            <p:ph type="sldNum" sz="quarter" idx="5"/>
          </p:nvPr>
        </p:nvSpPr>
        <p:spPr/>
        <p:txBody>
          <a:bodyPr/>
          <a:lstStyle/>
          <a:p>
            <a:fld id="{FA46179B-63E2-574C-894C-D69DE2A9F5FE}" type="slidenum">
              <a:rPr lang="en-US" smtClean="0"/>
              <a:t>8</a:t>
            </a:fld>
            <a:endParaRPr lang="en-US"/>
          </a:p>
        </p:txBody>
      </p:sp>
    </p:spTree>
    <p:extLst>
      <p:ext uri="{BB962C8B-B14F-4D97-AF65-F5344CB8AC3E}">
        <p14:creationId xmlns:p14="http://schemas.microsoft.com/office/powerpoint/2010/main" val="39392091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kern="0" dirty="0">
                <a:effectLst/>
                <a:latin typeface="Times New Roman" panose="02020603050405020304" pitchFamily="18" charset="0"/>
                <a:ea typeface="Times New Roman" panose="02020603050405020304" pitchFamily="18" charset="0"/>
              </a:rPr>
              <a:t>We expect </a:t>
            </a:r>
            <a:r>
              <a:rPr lang="en-US" b="0" dirty="0"/>
              <a:t>Average Order Value up 3–5% via targeted bundles and upsell; gross margin up 100–200 bps; and returns/ops cost down 50–100 bps via bundles, mix optimization, and tighter SLAs. Results will be tracked weekly, such that AOV, contribution margin per order, return rate, on-time %, more than 95</a:t>
            </a:r>
            <a:r>
              <a:rPr lang="en-US" b="0" baseline="30000" dirty="0"/>
              <a:t>th</a:t>
            </a:r>
            <a:r>
              <a:rPr lang="en-US" b="0" dirty="0"/>
              <a:t> percentile delay, plus loyalty enrollments, attach rate, geo/category contribution—rolled into a weekly EBITDA bridge.</a:t>
            </a:r>
          </a:p>
        </p:txBody>
      </p:sp>
      <p:sp>
        <p:nvSpPr>
          <p:cNvPr id="4" name="Slide Number Placeholder 3"/>
          <p:cNvSpPr>
            <a:spLocks noGrp="1"/>
          </p:cNvSpPr>
          <p:nvPr>
            <p:ph type="sldNum" sz="quarter" idx="5"/>
          </p:nvPr>
        </p:nvSpPr>
        <p:spPr/>
        <p:txBody>
          <a:bodyPr/>
          <a:lstStyle/>
          <a:p>
            <a:fld id="{FA46179B-63E2-574C-894C-D69DE2A9F5FE}" type="slidenum">
              <a:rPr lang="en-US" smtClean="0"/>
              <a:t>9</a:t>
            </a:fld>
            <a:endParaRPr lang="en-US"/>
          </a:p>
        </p:txBody>
      </p:sp>
    </p:spTree>
    <p:extLst>
      <p:ext uri="{BB962C8B-B14F-4D97-AF65-F5344CB8AC3E}">
        <p14:creationId xmlns:p14="http://schemas.microsoft.com/office/powerpoint/2010/main" val="1861517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mediate next steps for the private equity firm are to finalize the driver tree and validated features; approve the loyalty and product-bundling pilot; begin a product margin audit and a Clothing cost-to-serve review; and set firm service level agreements to clear the 155 delayed orders.</a:t>
            </a:r>
          </a:p>
          <a:p>
            <a:endParaRPr lang="en-US" dirty="0"/>
          </a:p>
          <a:p>
            <a:r>
              <a:rPr lang="en-US" dirty="0"/>
              <a:t>Key risks with mitigations: data leakage (by addressing time-based validation), supply shocks (by dual sourcing and buffers), customer pushback on price tests (by guardrails and controlled experiments), and cost creep in new geographies (by weekly contribution monitoring with stop rules).</a:t>
            </a:r>
          </a:p>
          <a:p>
            <a:endParaRPr lang="en-US" dirty="0"/>
          </a:p>
          <a:p>
            <a:r>
              <a:rPr lang="en-US" dirty="0"/>
              <a:t>Decision is made by approving the pilot scope, owners, and the 90-day resource plan.</a:t>
            </a:r>
          </a:p>
        </p:txBody>
      </p:sp>
      <p:sp>
        <p:nvSpPr>
          <p:cNvPr id="4" name="Slide Number Placeholder 3"/>
          <p:cNvSpPr>
            <a:spLocks noGrp="1"/>
          </p:cNvSpPr>
          <p:nvPr>
            <p:ph type="sldNum" sz="quarter" idx="5"/>
          </p:nvPr>
        </p:nvSpPr>
        <p:spPr/>
        <p:txBody>
          <a:bodyPr/>
          <a:lstStyle/>
          <a:p>
            <a:fld id="{FA46179B-63E2-574C-894C-D69DE2A9F5FE}" type="slidenum">
              <a:rPr lang="en-US" smtClean="0"/>
              <a:t>10</a:t>
            </a:fld>
            <a:endParaRPr lang="en-US"/>
          </a:p>
        </p:txBody>
      </p:sp>
    </p:spTree>
    <p:extLst>
      <p:ext uri="{BB962C8B-B14F-4D97-AF65-F5344CB8AC3E}">
        <p14:creationId xmlns:p14="http://schemas.microsoft.com/office/powerpoint/2010/main" val="16314336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8/16/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168075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8/16/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9109279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8/16/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612223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8/16/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614314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CAD085-E8A6-8845-BD4E-CB4CCA059FC4}" type="datetimeFigureOut">
              <a:rPr lang="en-US" smtClean="0"/>
              <a:t>8/16/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60648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CAD085-E8A6-8845-BD4E-CB4CCA059FC4}" type="datetimeFigureOut">
              <a:rPr lang="en-US" smtClean="0"/>
              <a:t>8/16/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782244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CAD085-E8A6-8845-BD4E-CB4CCA059FC4}" type="datetimeFigureOut">
              <a:rPr lang="en-US" smtClean="0"/>
              <a:t>8/16/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90158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8/16/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727027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8/16/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12999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8/16/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840726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8/16/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889236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7728149-A375-E03C-749B-0F0A130962F5}"/>
              </a:ext>
            </a:extLst>
          </p:cNvPr>
          <p:cNvGraphicFramePr>
            <a:graphicFrameLocks noChangeAspect="1"/>
          </p:cNvGraphicFramePr>
          <p:nvPr userDrawn="1">
            <p:custDataLst>
              <p:tags r:id="rId13"/>
            </p:custDataLst>
            <p:extLst>
              <p:ext uri="{D42A27DB-BD31-4B8C-83A1-F6EECF244321}">
                <p14:modId xmlns:p14="http://schemas.microsoft.com/office/powerpoint/2010/main" val="3874571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8" name="think-cell data - do not delete" hidden="1">
                        <a:extLst>
                          <a:ext uri="{FF2B5EF4-FFF2-40B4-BE49-F238E27FC236}">
                            <a16:creationId xmlns:a16="http://schemas.microsoft.com/office/drawing/2014/main" id="{A7728149-A375-E03C-749B-0F0A130962F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CAD085-E8A6-8845-BD4E-CB4CCA059FC4}" type="datetimeFigureOut">
              <a:rPr lang="en-US" smtClean="0"/>
              <a:t>8/16/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22099775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2.xml"/><Relationship Id="rId7" Type="http://schemas.openxmlformats.org/officeDocument/2006/relationships/diagramQuickStyle" Target="../diagrams/quickStyle1.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3.png"/><Relationship Id="rId4" Type="http://schemas.openxmlformats.org/officeDocument/2006/relationships/notesSlide" Target="../notesSlides/notesSlide5.xml"/><Relationship Id="rId9" Type="http://schemas.microsoft.com/office/2007/relationships/diagramDrawing" Target="../diagrams/drawing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3.pn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3.png"/><Relationship Id="rId5" Type="http://schemas.openxmlformats.org/officeDocument/2006/relationships/image" Target="../media/image6.sv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4a"/><Relationship Id="rId1" Type="http://schemas.microsoft.com/office/2007/relationships/media" Target="../media/media4.m4a"/><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4a"/><Relationship Id="rId1" Type="http://schemas.microsoft.com/office/2007/relationships/media" Target="../media/media5.m4a"/><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6.m4a"/><Relationship Id="rId1" Type="http://schemas.microsoft.com/office/2007/relationships/media" Target="../media/media6.m4a"/><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7.m4a"/><Relationship Id="rId1" Type="http://schemas.microsoft.com/office/2007/relationships/media" Target="../media/media7.m4a"/><Relationship Id="rId5" Type="http://schemas.openxmlformats.org/officeDocument/2006/relationships/image" Target="../media/image7.png"/><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audio" Target="../media/media8.m4a"/><Relationship Id="rId7" Type="http://schemas.openxmlformats.org/officeDocument/2006/relationships/image" Target="../media/image1.emf"/><Relationship Id="rId2" Type="http://schemas.microsoft.com/office/2007/relationships/media" Target="../media/media8.m4a"/><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3.png"/><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E51BA4DF-2BD4-4EC2-B1DB-B27C8AC718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415299" y="548464"/>
            <a:ext cx="5098906" cy="1675623"/>
          </a:xfrm>
        </p:spPr>
        <p:txBody>
          <a:bodyPr anchor="b">
            <a:normAutofit fontScale="90000"/>
          </a:bodyPr>
          <a:lstStyle/>
          <a:p>
            <a:r>
              <a:rPr lang="en-US" dirty="0"/>
              <a:t>Cost Reduction</a:t>
            </a:r>
            <a:r>
              <a:rPr dirty="0"/>
              <a:t> Thesis </a:t>
            </a:r>
            <a:r>
              <a:rPr lang="en-US" dirty="0"/>
              <a:t>for a fast-growing Ecommerce firm</a:t>
            </a:r>
            <a:endParaRPr dirty="0"/>
          </a:p>
        </p:txBody>
      </p:sp>
      <p:pic>
        <p:nvPicPr>
          <p:cNvPr id="22" name="Picture 21" descr="Digital numbers art">
            <a:extLst>
              <a:ext uri="{FF2B5EF4-FFF2-40B4-BE49-F238E27FC236}">
                <a16:creationId xmlns:a16="http://schemas.microsoft.com/office/drawing/2014/main" id="{62043F3C-2D07-5D5A-592E-BD6CE2249183}"/>
              </a:ext>
            </a:extLst>
          </p:cNvPr>
          <p:cNvPicPr>
            <a:picLocks noChangeAspect="1"/>
          </p:cNvPicPr>
          <p:nvPr/>
        </p:nvPicPr>
        <p:blipFill>
          <a:blip r:embed="rId5"/>
          <a:srcRect l="22697" r="46669" b="-1"/>
          <a:stretch>
            <a:fillRect/>
          </a:stretch>
        </p:blipFill>
        <p:spPr>
          <a:xfrm>
            <a:off x="20" y="10"/>
            <a:ext cx="3147352" cy="6857990"/>
          </a:xfrm>
          <a:prstGeom prst="rect">
            <a:avLst/>
          </a:prstGeom>
          <a:effectLst/>
        </p:spPr>
      </p:pic>
      <p:sp>
        <p:nvSpPr>
          <p:cNvPr id="3" name="Content Placeholder 2"/>
          <p:cNvSpPr>
            <a:spLocks noGrp="1"/>
          </p:cNvSpPr>
          <p:nvPr>
            <p:ph idx="1"/>
          </p:nvPr>
        </p:nvSpPr>
        <p:spPr>
          <a:xfrm>
            <a:off x="3415300" y="2409830"/>
            <a:ext cx="5098904" cy="3705217"/>
          </a:xfrm>
        </p:spPr>
        <p:txBody>
          <a:bodyPr>
            <a:normAutofit/>
          </a:bodyPr>
          <a:lstStyle/>
          <a:p>
            <a:pPr>
              <a:lnSpc>
                <a:spcPct val="90000"/>
              </a:lnSpc>
            </a:pPr>
            <a:endParaRPr lang="en-US" sz="1700" dirty="0"/>
          </a:p>
          <a:p>
            <a:pPr>
              <a:lnSpc>
                <a:spcPct val="90000"/>
              </a:lnSpc>
            </a:pPr>
            <a:r>
              <a:rPr lang="en-US" sz="1700" dirty="0"/>
              <a:t>Profit growth has stalled despite healthy order volume—leadership needs a cross‑functional view of what truly drives profit and risk.</a:t>
            </a:r>
          </a:p>
          <a:p>
            <a:pPr>
              <a:lnSpc>
                <a:spcPct val="90000"/>
              </a:lnSpc>
            </a:pPr>
            <a:r>
              <a:rPr lang="en-US" sz="1700" dirty="0"/>
              <a:t>Commercial context</a:t>
            </a:r>
          </a:p>
          <a:p>
            <a:pPr lvl="1">
              <a:lnSpc>
                <a:spcPct val="90000"/>
              </a:lnSpc>
            </a:pPr>
            <a:r>
              <a:rPr lang="en-US" sz="1700" dirty="0"/>
              <a:t>High‑value customers exist but may be under‑served or over‑incentivized by blanket promos</a:t>
            </a:r>
          </a:p>
          <a:p>
            <a:pPr lvl="1">
              <a:lnSpc>
                <a:spcPct val="90000"/>
              </a:lnSpc>
            </a:pPr>
            <a:r>
              <a:rPr lang="en-US" sz="1700" dirty="0"/>
              <a:t>Category and geography economics vary, impacting contribution margins</a:t>
            </a:r>
          </a:p>
          <a:p>
            <a:pPr>
              <a:lnSpc>
                <a:spcPct val="90000"/>
              </a:lnSpc>
            </a:pPr>
            <a:r>
              <a:rPr lang="en-US" sz="1700" dirty="0"/>
              <a:t>Why it matters now</a:t>
            </a:r>
          </a:p>
          <a:p>
            <a:pPr lvl="1">
              <a:lnSpc>
                <a:spcPct val="90000"/>
              </a:lnSpc>
            </a:pPr>
            <a:r>
              <a:rPr lang="en-US" sz="1700" dirty="0"/>
              <a:t>Peak season and FY planning are imminent</a:t>
            </a:r>
          </a:p>
          <a:p>
            <a:pPr lvl="1">
              <a:lnSpc>
                <a:spcPct val="90000"/>
              </a:lnSpc>
            </a:pPr>
            <a:r>
              <a:rPr lang="en-US" sz="1700" dirty="0"/>
              <a:t>Focus resources where ROI is provably highest</a:t>
            </a:r>
          </a:p>
        </p:txBody>
      </p:sp>
      <p:pic>
        <p:nvPicPr>
          <p:cNvPr id="6" name="Audio 5">
            <a:extLst>
              <a:ext uri="{FF2B5EF4-FFF2-40B4-BE49-F238E27FC236}">
                <a16:creationId xmlns:a16="http://schemas.microsoft.com/office/drawing/2014/main" id="{D8996741-960F-F0A2-D686-AA29343A67DC}"/>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178800" y="5892800"/>
            <a:ext cx="812800" cy="8128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2000" advTm="30649"/>
    </mc:Choice>
    <mc:Fallback>
      <p:transition spd="slow" advTm="3064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76250" y="640823"/>
            <a:ext cx="2563994" cy="5583148"/>
          </a:xfrm>
        </p:spPr>
        <p:txBody>
          <a:bodyPr anchor="ctr">
            <a:normAutofit/>
          </a:bodyPr>
          <a:lstStyle/>
          <a:p>
            <a:r>
              <a:rPr lang="en-US" sz="2600" dirty="0"/>
              <a:t>Recommendation for Private Equity Firm</a:t>
            </a:r>
          </a:p>
        </p:txBody>
      </p:sp>
      <p:sp>
        <p:nvSpPr>
          <p:cNvPr id="23"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44313" y="3465005"/>
            <a:ext cx="5410200" cy="13716"/>
          </a:xfrm>
          <a:custGeom>
            <a:avLst/>
            <a:gdLst>
              <a:gd name="connsiteX0" fmla="*/ 0 w 5410200"/>
              <a:gd name="connsiteY0" fmla="*/ 0 h 13716"/>
              <a:gd name="connsiteX1" fmla="*/ 568071 w 5410200"/>
              <a:gd name="connsiteY1" fmla="*/ 0 h 13716"/>
              <a:gd name="connsiteX2" fmla="*/ 1298448 w 5410200"/>
              <a:gd name="connsiteY2" fmla="*/ 0 h 13716"/>
              <a:gd name="connsiteX3" fmla="*/ 1920621 w 5410200"/>
              <a:gd name="connsiteY3" fmla="*/ 0 h 13716"/>
              <a:gd name="connsiteX4" fmla="*/ 2488692 w 5410200"/>
              <a:gd name="connsiteY4" fmla="*/ 0 h 13716"/>
              <a:gd name="connsiteX5" fmla="*/ 3219069 w 5410200"/>
              <a:gd name="connsiteY5" fmla="*/ 0 h 13716"/>
              <a:gd name="connsiteX6" fmla="*/ 3895344 w 5410200"/>
              <a:gd name="connsiteY6" fmla="*/ 0 h 13716"/>
              <a:gd name="connsiteX7" fmla="*/ 4571619 w 5410200"/>
              <a:gd name="connsiteY7" fmla="*/ 0 h 13716"/>
              <a:gd name="connsiteX8" fmla="*/ 5410200 w 5410200"/>
              <a:gd name="connsiteY8" fmla="*/ 0 h 13716"/>
              <a:gd name="connsiteX9" fmla="*/ 5410200 w 5410200"/>
              <a:gd name="connsiteY9" fmla="*/ 13716 h 13716"/>
              <a:gd name="connsiteX10" fmla="*/ 4842129 w 5410200"/>
              <a:gd name="connsiteY10" fmla="*/ 13716 h 13716"/>
              <a:gd name="connsiteX11" fmla="*/ 4328160 w 5410200"/>
              <a:gd name="connsiteY11" fmla="*/ 13716 h 13716"/>
              <a:gd name="connsiteX12" fmla="*/ 3597783 w 5410200"/>
              <a:gd name="connsiteY12" fmla="*/ 13716 h 13716"/>
              <a:gd name="connsiteX13" fmla="*/ 3029712 w 5410200"/>
              <a:gd name="connsiteY13" fmla="*/ 13716 h 13716"/>
              <a:gd name="connsiteX14" fmla="*/ 2299335 w 5410200"/>
              <a:gd name="connsiteY14" fmla="*/ 13716 h 13716"/>
              <a:gd name="connsiteX15" fmla="*/ 1514856 w 5410200"/>
              <a:gd name="connsiteY15" fmla="*/ 13716 h 13716"/>
              <a:gd name="connsiteX16" fmla="*/ 892683 w 5410200"/>
              <a:gd name="connsiteY16" fmla="*/ 13716 h 13716"/>
              <a:gd name="connsiteX17" fmla="*/ 0 w 5410200"/>
              <a:gd name="connsiteY17" fmla="*/ 13716 h 13716"/>
              <a:gd name="connsiteX18" fmla="*/ 0 w 5410200"/>
              <a:gd name="connsiteY18"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3716"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09587" y="2854"/>
                  <a:pt x="5409791" y="9451"/>
                  <a:pt x="5410200" y="13716"/>
                </a:cubicBezTo>
                <a:cubicBezTo>
                  <a:pt x="5139060" y="2179"/>
                  <a:pt x="5121593" y="26463"/>
                  <a:pt x="4842129" y="13716"/>
                </a:cubicBezTo>
                <a:cubicBezTo>
                  <a:pt x="4562665" y="969"/>
                  <a:pt x="4448273" y="4915"/>
                  <a:pt x="4328160" y="13716"/>
                </a:cubicBezTo>
                <a:cubicBezTo>
                  <a:pt x="4208047" y="22517"/>
                  <a:pt x="3760936" y="17995"/>
                  <a:pt x="3597783" y="13716"/>
                </a:cubicBezTo>
                <a:cubicBezTo>
                  <a:pt x="3434630" y="9437"/>
                  <a:pt x="3299718" y="28641"/>
                  <a:pt x="3029712" y="13716"/>
                </a:cubicBezTo>
                <a:cubicBezTo>
                  <a:pt x="2759706" y="-1209"/>
                  <a:pt x="2640159" y="22822"/>
                  <a:pt x="2299335" y="13716"/>
                </a:cubicBezTo>
                <a:cubicBezTo>
                  <a:pt x="1958511" y="4610"/>
                  <a:pt x="1801186" y="24413"/>
                  <a:pt x="1514856" y="13716"/>
                </a:cubicBezTo>
                <a:cubicBezTo>
                  <a:pt x="1228526" y="3019"/>
                  <a:pt x="1063509" y="-9877"/>
                  <a:pt x="892683" y="13716"/>
                </a:cubicBezTo>
                <a:cubicBezTo>
                  <a:pt x="721857" y="37309"/>
                  <a:pt x="186945" y="-25469"/>
                  <a:pt x="0" y="13716"/>
                </a:cubicBezTo>
                <a:cubicBezTo>
                  <a:pt x="-342" y="9537"/>
                  <a:pt x="-97" y="6817"/>
                  <a:pt x="0" y="0"/>
                </a:cubicBezTo>
                <a:close/>
              </a:path>
              <a:path w="5410200" h="13716"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10660" y="2787"/>
                  <a:pt x="5410166" y="9748"/>
                  <a:pt x="5410200" y="13716"/>
                </a:cubicBezTo>
                <a:cubicBezTo>
                  <a:pt x="5163327" y="36922"/>
                  <a:pt x="5008749" y="6121"/>
                  <a:pt x="4842129" y="13716"/>
                </a:cubicBezTo>
                <a:cubicBezTo>
                  <a:pt x="4675509" y="21311"/>
                  <a:pt x="4433401" y="-5187"/>
                  <a:pt x="4165854" y="13716"/>
                </a:cubicBezTo>
                <a:cubicBezTo>
                  <a:pt x="3898308" y="32619"/>
                  <a:pt x="3809032" y="-13282"/>
                  <a:pt x="3543681" y="13716"/>
                </a:cubicBezTo>
                <a:cubicBezTo>
                  <a:pt x="3278330" y="40714"/>
                  <a:pt x="3073876" y="-20489"/>
                  <a:pt x="2759202" y="13716"/>
                </a:cubicBezTo>
                <a:cubicBezTo>
                  <a:pt x="2444528" y="47921"/>
                  <a:pt x="2204144" y="-1200"/>
                  <a:pt x="1974723" y="13716"/>
                </a:cubicBezTo>
                <a:cubicBezTo>
                  <a:pt x="1745302" y="28632"/>
                  <a:pt x="1602335" y="26918"/>
                  <a:pt x="1406652" y="13716"/>
                </a:cubicBezTo>
                <a:cubicBezTo>
                  <a:pt x="1210969" y="514"/>
                  <a:pt x="923948" y="-1411"/>
                  <a:pt x="730377" y="13716"/>
                </a:cubicBezTo>
                <a:cubicBezTo>
                  <a:pt x="536806" y="28843"/>
                  <a:pt x="336496" y="-4713"/>
                  <a:pt x="0" y="13716"/>
                </a:cubicBezTo>
                <a:cubicBezTo>
                  <a:pt x="-535" y="9547"/>
                  <a:pt x="488" y="451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2">
            <a:extLst>
              <a:ext uri="{FF2B5EF4-FFF2-40B4-BE49-F238E27FC236}">
                <a16:creationId xmlns:a16="http://schemas.microsoft.com/office/drawing/2014/main" id="{BC51190C-A0EC-BD7F-C7F2-7CE177567C81}"/>
              </a:ext>
            </a:extLst>
          </p:cNvPr>
          <p:cNvGraphicFramePr>
            <a:graphicFrameLocks noGrp="1"/>
          </p:cNvGraphicFramePr>
          <p:nvPr>
            <p:ph idx="1"/>
            <p:extLst>
              <p:ext uri="{D42A27DB-BD31-4B8C-83A1-F6EECF244321}">
                <p14:modId xmlns:p14="http://schemas.microsoft.com/office/powerpoint/2010/main" val="3000347407"/>
              </p:ext>
            </p:extLst>
          </p:nvPr>
        </p:nvGraphicFramePr>
        <p:xfrm>
          <a:off x="3486013" y="640822"/>
          <a:ext cx="5175384" cy="553614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Audio Recording Aug 16, 2025 at 12:41:47 PM">
            <a:hlinkClick r:id="" action="ppaction://media"/>
            <a:extLst>
              <a:ext uri="{FF2B5EF4-FFF2-40B4-BE49-F238E27FC236}">
                <a16:creationId xmlns:a16="http://schemas.microsoft.com/office/drawing/2014/main" id="{5680069C-AE84-04BD-0FDA-B9056B073E7A}"/>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7848597" y="6005956"/>
            <a:ext cx="812800" cy="8128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944"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E51BA4DF-2BD4-4EC2-B1DB-B27C8AC718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415299" y="548464"/>
            <a:ext cx="5098906" cy="1675623"/>
          </a:xfrm>
        </p:spPr>
        <p:txBody>
          <a:bodyPr anchor="b">
            <a:normAutofit/>
          </a:bodyPr>
          <a:lstStyle/>
          <a:p>
            <a:r>
              <a:t>Analytical Approach for Due Diligence</a:t>
            </a:r>
          </a:p>
        </p:txBody>
      </p:sp>
      <p:pic>
        <p:nvPicPr>
          <p:cNvPr id="22" name="Picture 21" descr="Financial graphs on a dark display">
            <a:extLst>
              <a:ext uri="{FF2B5EF4-FFF2-40B4-BE49-F238E27FC236}">
                <a16:creationId xmlns:a16="http://schemas.microsoft.com/office/drawing/2014/main" id="{2BFE2629-2514-4B62-03D7-3E4E078D9CEE}"/>
              </a:ext>
            </a:extLst>
          </p:cNvPr>
          <p:cNvPicPr>
            <a:picLocks noChangeAspect="1"/>
          </p:cNvPicPr>
          <p:nvPr/>
        </p:nvPicPr>
        <p:blipFill>
          <a:blip r:embed="rId4"/>
          <a:srcRect l="32754" r="38563"/>
          <a:stretch>
            <a:fillRect/>
          </a:stretch>
        </p:blipFill>
        <p:spPr>
          <a:xfrm>
            <a:off x="20" y="10"/>
            <a:ext cx="3147352" cy="6857990"/>
          </a:xfrm>
          <a:prstGeom prst="rect">
            <a:avLst/>
          </a:prstGeom>
          <a:effectLst/>
        </p:spPr>
      </p:pic>
      <p:sp>
        <p:nvSpPr>
          <p:cNvPr id="3" name="Content Placeholder 2"/>
          <p:cNvSpPr>
            <a:spLocks noGrp="1"/>
          </p:cNvSpPr>
          <p:nvPr>
            <p:ph idx="1"/>
          </p:nvPr>
        </p:nvSpPr>
        <p:spPr>
          <a:xfrm>
            <a:off x="3415300" y="2409830"/>
            <a:ext cx="5098904" cy="3705217"/>
          </a:xfrm>
        </p:spPr>
        <p:txBody>
          <a:bodyPr>
            <a:normAutofit lnSpcReduction="10000"/>
          </a:bodyPr>
          <a:lstStyle/>
          <a:p>
            <a:pPr>
              <a:lnSpc>
                <a:spcPct val="90000"/>
              </a:lnSpc>
            </a:pPr>
            <a:endParaRPr lang="en-US" sz="1600" dirty="0"/>
          </a:p>
          <a:p>
            <a:pPr>
              <a:lnSpc>
                <a:spcPct val="90000"/>
              </a:lnSpc>
            </a:pPr>
            <a:r>
              <a:rPr lang="en-US" sz="1600" dirty="0"/>
              <a:t>Methodology – DIVE</a:t>
            </a:r>
          </a:p>
          <a:p>
            <a:pPr lvl="1">
              <a:lnSpc>
                <a:spcPct val="90000"/>
              </a:lnSpc>
            </a:pPr>
            <a:r>
              <a:rPr lang="en-US" sz="2200" b="1" dirty="0">
                <a:solidFill>
                  <a:srgbClr val="002060"/>
                </a:solidFill>
              </a:rPr>
              <a:t>D</a:t>
            </a:r>
            <a:r>
              <a:rPr lang="en-US" sz="1600" dirty="0"/>
              <a:t>iscover patterns (exploratory analysis)</a:t>
            </a:r>
          </a:p>
          <a:p>
            <a:pPr lvl="1">
              <a:lnSpc>
                <a:spcPct val="90000"/>
              </a:lnSpc>
            </a:pPr>
            <a:r>
              <a:rPr lang="en-US" sz="2200" b="1" dirty="0">
                <a:solidFill>
                  <a:srgbClr val="002060"/>
                </a:solidFill>
              </a:rPr>
              <a:t>I</a:t>
            </a:r>
            <a:r>
              <a:rPr lang="en-US" sz="1600" dirty="0"/>
              <a:t>nvestigate drivers (bivariate/modeling)</a:t>
            </a:r>
          </a:p>
          <a:p>
            <a:pPr lvl="1">
              <a:lnSpc>
                <a:spcPct val="90000"/>
              </a:lnSpc>
            </a:pPr>
            <a:r>
              <a:rPr lang="en-US" sz="2200" b="1" dirty="0">
                <a:solidFill>
                  <a:srgbClr val="002060"/>
                </a:solidFill>
              </a:rPr>
              <a:t>V</a:t>
            </a:r>
            <a:r>
              <a:rPr lang="en-US" sz="1600" dirty="0"/>
              <a:t>alidate findings (time‑split tests, diagnostics)</a:t>
            </a:r>
          </a:p>
          <a:p>
            <a:pPr lvl="1">
              <a:lnSpc>
                <a:spcPct val="90000"/>
              </a:lnSpc>
            </a:pPr>
            <a:r>
              <a:rPr lang="en-US" sz="2200" b="1" dirty="0">
                <a:solidFill>
                  <a:srgbClr val="002060"/>
                </a:solidFill>
              </a:rPr>
              <a:t>E</a:t>
            </a:r>
            <a:r>
              <a:rPr lang="en-US" sz="1600" dirty="0"/>
              <a:t>xtend to projections &amp; recommendations</a:t>
            </a:r>
          </a:p>
          <a:p>
            <a:pPr>
              <a:lnSpc>
                <a:spcPct val="90000"/>
              </a:lnSpc>
            </a:pPr>
            <a:r>
              <a:rPr lang="en-US" sz="1600" dirty="0"/>
              <a:t>Roles</a:t>
            </a:r>
          </a:p>
          <a:p>
            <a:pPr lvl="1">
              <a:lnSpc>
                <a:spcPct val="90000"/>
              </a:lnSpc>
            </a:pPr>
            <a:r>
              <a:rPr lang="en-US" sz="1600" dirty="0"/>
              <a:t>Customer Analyst: segment &amp; behavior patterns</a:t>
            </a:r>
          </a:p>
          <a:p>
            <a:pPr lvl="1">
              <a:lnSpc>
                <a:spcPct val="90000"/>
              </a:lnSpc>
            </a:pPr>
            <a:r>
              <a:rPr lang="en-US" sz="1600" dirty="0"/>
              <a:t>Financial Performance Analyst: revenue/cost/profit drivers &amp; trends</a:t>
            </a:r>
          </a:p>
          <a:p>
            <a:pPr lvl="1">
              <a:lnSpc>
                <a:spcPct val="90000"/>
              </a:lnSpc>
            </a:pPr>
            <a:r>
              <a:rPr lang="en-US" sz="1600" dirty="0"/>
              <a:t>Operations Analyst: cost‑to‑serve, fulfillment &amp; geography effects</a:t>
            </a:r>
          </a:p>
          <a:p>
            <a:pPr lvl="1">
              <a:lnSpc>
                <a:spcPct val="90000"/>
              </a:lnSpc>
            </a:pPr>
            <a:r>
              <a:rPr lang="en-US" sz="1600" dirty="0"/>
              <a:t>Risk &amp; Strategy Analyst: concentration of risk &amp; mitigation levers</a:t>
            </a:r>
          </a:p>
        </p:txBody>
      </p:sp>
      <p:pic>
        <p:nvPicPr>
          <p:cNvPr id="7" name="Audio 6">
            <a:extLst>
              <a:ext uri="{FF2B5EF4-FFF2-40B4-BE49-F238E27FC236}">
                <a16:creationId xmlns:a16="http://schemas.microsoft.com/office/drawing/2014/main" id="{3E3E67F8-9565-E44B-E1F3-9C283BCC719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78800" y="5892800"/>
            <a:ext cx="812800" cy="8128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2000" advTm="28403"/>
    </mc:Choice>
    <mc:Fallback>
      <p:transition spd="slow" advTm="2840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0699" y="687480"/>
            <a:ext cx="5605629" cy="994172"/>
          </a:xfrm>
        </p:spPr>
        <p:txBody>
          <a:bodyPr>
            <a:normAutofit/>
          </a:bodyPr>
          <a:lstStyle/>
          <a:p>
            <a:pPr>
              <a:lnSpc>
                <a:spcPct val="90000"/>
              </a:lnSpc>
            </a:pPr>
            <a:r>
              <a:rPr lang="en-US" sz="3300"/>
              <a:t>Financial Diligence: Key Insights</a:t>
            </a:r>
          </a:p>
        </p:txBody>
      </p:sp>
      <p:sp>
        <p:nvSpPr>
          <p:cNvPr id="3" name="Content Placeholder 2"/>
          <p:cNvSpPr>
            <a:spLocks noGrp="1"/>
          </p:cNvSpPr>
          <p:nvPr>
            <p:ph idx="1"/>
          </p:nvPr>
        </p:nvSpPr>
        <p:spPr>
          <a:xfrm>
            <a:off x="852321" y="2227943"/>
            <a:ext cx="5033221" cy="3788227"/>
          </a:xfrm>
        </p:spPr>
        <p:txBody>
          <a:bodyPr anchor="ctr">
            <a:normAutofit/>
          </a:bodyPr>
          <a:lstStyle/>
          <a:p>
            <a:pPr>
              <a:lnSpc>
                <a:spcPct val="90000"/>
              </a:lnSpc>
            </a:pPr>
            <a:endParaRPr lang="en-US" sz="1600"/>
          </a:p>
          <a:p>
            <a:pPr>
              <a:lnSpc>
                <a:spcPct val="90000"/>
              </a:lnSpc>
            </a:pPr>
            <a:r>
              <a:rPr lang="en-US" sz="1600"/>
              <a:t>Ticket size (AOV) is the dominant driver of profit; profit rises predictably with cost on higher‑value orders.</a:t>
            </a:r>
          </a:p>
          <a:p>
            <a:pPr>
              <a:lnSpc>
                <a:spcPct val="90000"/>
              </a:lnSpc>
            </a:pPr>
            <a:r>
              <a:rPr lang="en-US" sz="1600"/>
              <a:t>Patterns observed</a:t>
            </a:r>
          </a:p>
          <a:p>
            <a:pPr lvl="1">
              <a:lnSpc>
                <a:spcPct val="90000"/>
              </a:lnSpc>
            </a:pPr>
            <a:r>
              <a:rPr lang="en-US" sz="1600"/>
              <a:t>Clear seasonality with Q4 peaks; Toys/Electronics have fatter upper tails in profit</a:t>
            </a:r>
          </a:p>
          <a:p>
            <a:pPr>
              <a:lnSpc>
                <a:spcPct val="90000"/>
              </a:lnSpc>
            </a:pPr>
            <a:r>
              <a:rPr lang="en-US" sz="1600"/>
              <a:t>Most surprising</a:t>
            </a:r>
          </a:p>
          <a:p>
            <a:pPr lvl="1">
              <a:lnSpc>
                <a:spcPct val="90000"/>
              </a:lnSpc>
            </a:pPr>
            <a:r>
              <a:rPr lang="en-US" sz="1600"/>
              <a:t>A baseline model with R²≈1.00 flags potential data leakage—tighten validation &amp; features</a:t>
            </a:r>
          </a:p>
          <a:p>
            <a:pPr>
              <a:lnSpc>
                <a:spcPct val="90000"/>
              </a:lnSpc>
            </a:pPr>
            <a:r>
              <a:rPr lang="en-US" sz="1600"/>
              <a:t>Connections</a:t>
            </a:r>
          </a:p>
          <a:p>
            <a:pPr lvl="1">
              <a:lnSpc>
                <a:spcPct val="90000"/>
              </a:lnSpc>
            </a:pPr>
            <a:r>
              <a:rPr lang="en-US" sz="1600"/>
              <a:t>AOV focus dovetails with Customer segmentation and Ops cost‑to‑serve to maximize CM/order</a:t>
            </a:r>
          </a:p>
        </p:txBody>
      </p:sp>
      <p:sp>
        <p:nvSpPr>
          <p:cNvPr id="59" name="Rectangle 58">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189435" y="0"/>
            <a:ext cx="19545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4" name="Oval 63">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29567" y="2369132"/>
            <a:ext cx="2119736" cy="2119736"/>
          </a:xfrm>
          <a:prstGeom prst="ellipse">
            <a:avLst/>
          </a:prstGeom>
          <a:solidFill>
            <a:srgbClr val="FFFFFF"/>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6" name="Graphic 55" descr="Euro">
            <a:extLst>
              <a:ext uri="{FF2B5EF4-FFF2-40B4-BE49-F238E27FC236}">
                <a16:creationId xmlns:a16="http://schemas.microsoft.com/office/drawing/2014/main" id="{1A54639D-27C6-AF82-547F-AD7EABC488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24964" y="2865141"/>
            <a:ext cx="1143455" cy="1143455"/>
          </a:xfrm>
          <a:prstGeom prst="rect">
            <a:avLst/>
          </a:prstGeom>
        </p:spPr>
      </p:pic>
      <p:pic>
        <p:nvPicPr>
          <p:cNvPr id="10" name="Audio 9">
            <a:extLst>
              <a:ext uri="{FF2B5EF4-FFF2-40B4-BE49-F238E27FC236}">
                <a16:creationId xmlns:a16="http://schemas.microsoft.com/office/drawing/2014/main" id="{CB5F8514-27B4-5C58-8BCD-4C1D26103A2B}"/>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178800" y="5892800"/>
            <a:ext cx="812800" cy="8128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2000" advTm="28593"/>
    </mc:Choice>
    <mc:Fallback>
      <p:transition spd="slow" advTm="2859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C9A36457-A5F4-4103-A443-02581C0918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AA5CF486-D9E5-4A66-898A-F3D62B81B1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 y="-5"/>
            <a:ext cx="9144861" cy="2200064"/>
          </a:xfrm>
          <a:custGeom>
            <a:avLst/>
            <a:gdLst>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57107 w 12192001"/>
              <a:gd name="connsiteY22" fmla="*/ 792050 h 2344739"/>
              <a:gd name="connsiteX23" fmla="*/ 11810326 w 12192001"/>
              <a:gd name="connsiteY23" fmla="*/ 799074 h 2344739"/>
              <a:gd name="connsiteX24" fmla="*/ 11550277 w 12192001"/>
              <a:gd name="connsiteY24" fmla="*/ 918898 h 2344739"/>
              <a:gd name="connsiteX25" fmla="*/ 11306392 w 12192001"/>
              <a:gd name="connsiteY25" fmla="*/ 1272239 h 2344739"/>
              <a:gd name="connsiteX26" fmla="*/ 11309326 w 12192001"/>
              <a:gd name="connsiteY26" fmla="*/ 1274846 h 2344739"/>
              <a:gd name="connsiteX27" fmla="*/ 11294224 w 12192001"/>
              <a:gd name="connsiteY27" fmla="*/ 1283683 h 2344739"/>
              <a:gd name="connsiteX28" fmla="*/ 11245526 w 12192001"/>
              <a:gd name="connsiteY28" fmla="*/ 1274060 h 2344739"/>
              <a:gd name="connsiteX29" fmla="*/ 11227161 w 12192001"/>
              <a:gd name="connsiteY29" fmla="*/ 1276236 h 2344739"/>
              <a:gd name="connsiteX30" fmla="*/ 11216939 w 12192001"/>
              <a:gd name="connsiteY30" fmla="*/ 1275961 h 2344739"/>
              <a:gd name="connsiteX31" fmla="*/ 11216036 w 12192001"/>
              <a:gd name="connsiteY31" fmla="*/ 1275018 h 2344739"/>
              <a:gd name="connsiteX32" fmla="*/ 11187737 w 12192001"/>
              <a:gd name="connsiteY32" fmla="*/ 1292383 h 2344739"/>
              <a:gd name="connsiteX33" fmla="*/ 11183353 w 12192001"/>
              <a:gd name="connsiteY33" fmla="*/ 1292525 h 2344739"/>
              <a:gd name="connsiteX34" fmla="*/ 11165706 w 12192001"/>
              <a:gd name="connsiteY34" fmla="*/ 1306612 h 2344739"/>
              <a:gd name="connsiteX35" fmla="*/ 11156163 w 12192001"/>
              <a:gd name="connsiteY35" fmla="*/ 1312414 h 2344739"/>
              <a:gd name="connsiteX36" fmla="*/ 11154348 w 12192001"/>
              <a:gd name="connsiteY36" fmla="*/ 1317097 h 2344739"/>
              <a:gd name="connsiteX37" fmla="*/ 11139813 w 12192001"/>
              <a:gd name="connsiteY37" fmla="*/ 1324115 h 2344739"/>
              <a:gd name="connsiteX38" fmla="*/ 11137813 w 12192001"/>
              <a:gd name="connsiteY38" fmla="*/ 1323772 h 2344739"/>
              <a:gd name="connsiteX39" fmla="*/ 11127060 w 12192001"/>
              <a:gd name="connsiteY39" fmla="*/ 1333832 h 2344739"/>
              <a:gd name="connsiteX40" fmla="*/ 11119543 w 12192001"/>
              <a:gd name="connsiteY40" fmla="*/ 1347424 h 2344739"/>
              <a:gd name="connsiteX41" fmla="*/ 10893535 w 12192001"/>
              <a:gd name="connsiteY41" fmla="*/ 1473399 h 2344739"/>
              <a:gd name="connsiteX42" fmla="*/ 10772152 w 12192001"/>
              <a:gd name="connsiteY42" fmla="*/ 1523191 h 2344739"/>
              <a:gd name="connsiteX43" fmla="*/ 10626520 w 12192001"/>
              <a:gd name="connsiteY43" fmla="*/ 1559229 h 2344739"/>
              <a:gd name="connsiteX44" fmla="*/ 10580747 w 12192001"/>
              <a:gd name="connsiteY44" fmla="*/ 1568689 h 2344739"/>
              <a:gd name="connsiteX45" fmla="*/ 10546642 w 12192001"/>
              <a:gd name="connsiteY45" fmla="*/ 1598423 h 2344739"/>
              <a:gd name="connsiteX46" fmla="*/ 10528495 w 12192001"/>
              <a:gd name="connsiteY46" fmla="*/ 1596907 h 2344739"/>
              <a:gd name="connsiteX47" fmla="*/ 10525298 w 12192001"/>
              <a:gd name="connsiteY47" fmla="*/ 1596411 h 2344739"/>
              <a:gd name="connsiteX48" fmla="*/ 10513981 w 12192001"/>
              <a:gd name="connsiteY48" fmla="*/ 1599537 h 2344739"/>
              <a:gd name="connsiteX49" fmla="*/ 10490587 w 12192001"/>
              <a:gd name="connsiteY49" fmla="*/ 1594156 h 2344739"/>
              <a:gd name="connsiteX50" fmla="*/ 10470270 w 12192001"/>
              <a:gd name="connsiteY50" fmla="*/ 1601693 h 2344739"/>
              <a:gd name="connsiteX51" fmla="*/ 10375894 w 12192001"/>
              <a:gd name="connsiteY51" fmla="*/ 1644598 h 2344739"/>
              <a:gd name="connsiteX52" fmla="*/ 10318190 w 12192001"/>
              <a:gd name="connsiteY52" fmla="*/ 1666221 h 2344739"/>
              <a:gd name="connsiteX53" fmla="*/ 10294319 w 12192001"/>
              <a:gd name="connsiteY53" fmla="*/ 1668079 h 2344739"/>
              <a:gd name="connsiteX54" fmla="*/ 10262295 w 12192001"/>
              <a:gd name="connsiteY54" fmla="*/ 1674948 h 2344739"/>
              <a:gd name="connsiteX55" fmla="*/ 10204270 w 12192001"/>
              <a:gd name="connsiteY55" fmla="*/ 1682149 h 2344739"/>
              <a:gd name="connsiteX56" fmla="*/ 10176611 w 12192001"/>
              <a:gd name="connsiteY56" fmla="*/ 1692943 h 2344739"/>
              <a:gd name="connsiteX57" fmla="*/ 10163922 w 12192001"/>
              <a:gd name="connsiteY57" fmla="*/ 1693739 h 2344739"/>
              <a:gd name="connsiteX58" fmla="*/ 10155160 w 12192001"/>
              <a:gd name="connsiteY58" fmla="*/ 1707487 h 2344739"/>
              <a:gd name="connsiteX59" fmla="*/ 10117119 w 12192001"/>
              <a:gd name="connsiteY59" fmla="*/ 1731142 h 2344739"/>
              <a:gd name="connsiteX60" fmla="*/ 10100445 w 12192001"/>
              <a:gd name="connsiteY60" fmla="*/ 1742432 h 2344739"/>
              <a:gd name="connsiteX61" fmla="*/ 10082169 w 12192001"/>
              <a:gd name="connsiteY61" fmla="*/ 1743296 h 2344739"/>
              <a:gd name="connsiteX62" fmla="*/ 10039240 w 12192001"/>
              <a:gd name="connsiteY62" fmla="*/ 1741632 h 2344739"/>
              <a:gd name="connsiteX63" fmla="*/ 9960019 w 12192001"/>
              <a:gd name="connsiteY63" fmla="*/ 1757147 h 2344739"/>
              <a:gd name="connsiteX64" fmla="*/ 9847792 w 12192001"/>
              <a:gd name="connsiteY64" fmla="*/ 1763915 h 2344739"/>
              <a:gd name="connsiteX65" fmla="*/ 9728309 w 12192001"/>
              <a:gd name="connsiteY65" fmla="*/ 1784122 h 2344739"/>
              <a:gd name="connsiteX66" fmla="*/ 9584507 w 12192001"/>
              <a:gd name="connsiteY66" fmla="*/ 1795542 h 2344739"/>
              <a:gd name="connsiteX67" fmla="*/ 9343052 w 12192001"/>
              <a:gd name="connsiteY67" fmla="*/ 1841244 h 2344739"/>
              <a:gd name="connsiteX68" fmla="*/ 9231370 w 12192001"/>
              <a:gd name="connsiteY68" fmla="*/ 1893149 h 2344739"/>
              <a:gd name="connsiteX69" fmla="*/ 9194810 w 12192001"/>
              <a:gd name="connsiteY69" fmla="*/ 1903228 h 2344739"/>
              <a:gd name="connsiteX70" fmla="*/ 9189246 w 12192001"/>
              <a:gd name="connsiteY70" fmla="*/ 1912467 h 2344739"/>
              <a:gd name="connsiteX71" fmla="*/ 9151232 w 12192001"/>
              <a:gd name="connsiteY71" fmla="*/ 1923669 h 2344739"/>
              <a:gd name="connsiteX72" fmla="*/ 9150210 w 12192001"/>
              <a:gd name="connsiteY72" fmla="*/ 1922604 h 2344739"/>
              <a:gd name="connsiteX73" fmla="*/ 9137318 w 12192001"/>
              <a:gd name="connsiteY73" fmla="*/ 1920435 h 2344739"/>
              <a:gd name="connsiteX74" fmla="*/ 9113812 w 12192001"/>
              <a:gd name="connsiteY74" fmla="*/ 1919069 h 2344739"/>
              <a:gd name="connsiteX75" fmla="*/ 9053453 w 12192001"/>
              <a:gd name="connsiteY75" fmla="*/ 1910755 h 2344739"/>
              <a:gd name="connsiteX76" fmla="*/ 9005486 w 12192001"/>
              <a:gd name="connsiteY76" fmla="*/ 1914040 h 2344739"/>
              <a:gd name="connsiteX77" fmla="*/ 9005201 w 12192001"/>
              <a:gd name="connsiteY77" fmla="*/ 1913800 h 2344739"/>
              <a:gd name="connsiteX78" fmla="*/ 8996232 w 12192001"/>
              <a:gd name="connsiteY78" fmla="*/ 1915011 h 2344739"/>
              <a:gd name="connsiteX79" fmla="*/ 8990394 w 12192001"/>
              <a:gd name="connsiteY79" fmla="*/ 1917072 h 2344739"/>
              <a:gd name="connsiteX80" fmla="*/ 8974337 w 12192001"/>
              <a:gd name="connsiteY80" fmla="*/ 1920298 h 2344739"/>
              <a:gd name="connsiteX81" fmla="*/ 8968011 w 12192001"/>
              <a:gd name="connsiteY81" fmla="*/ 1919598 h 2344739"/>
              <a:gd name="connsiteX82" fmla="*/ 8963048 w 12192001"/>
              <a:gd name="connsiteY82" fmla="*/ 1917373 h 2344739"/>
              <a:gd name="connsiteX83" fmla="*/ 8928988 w 12192001"/>
              <a:gd name="connsiteY83" fmla="*/ 1914185 h 2344739"/>
              <a:gd name="connsiteX84" fmla="*/ 8752444 w 12192001"/>
              <a:gd name="connsiteY84" fmla="*/ 1933417 h 2344739"/>
              <a:gd name="connsiteX85" fmla="*/ 8707847 w 12192001"/>
              <a:gd name="connsiteY85" fmla="*/ 1935518 h 2344739"/>
              <a:gd name="connsiteX86" fmla="*/ 8596071 w 12192001"/>
              <a:gd name="connsiteY86" fmla="*/ 1944090 h 2344739"/>
              <a:gd name="connsiteX87" fmla="*/ 8525230 w 12192001"/>
              <a:gd name="connsiteY87" fmla="*/ 1929248 h 2344739"/>
              <a:gd name="connsiteX88" fmla="*/ 8510983 w 12192001"/>
              <a:gd name="connsiteY88" fmla="*/ 1935163 h 2344739"/>
              <a:gd name="connsiteX89" fmla="*/ 8506167 w 12192001"/>
              <a:gd name="connsiteY89" fmla="*/ 1938164 h 2344739"/>
              <a:gd name="connsiteX90" fmla="*/ 8497968 w 12192001"/>
              <a:gd name="connsiteY90" fmla="*/ 1940902 h 2344739"/>
              <a:gd name="connsiteX91" fmla="*/ 8497594 w 12192001"/>
              <a:gd name="connsiteY91" fmla="*/ 1940723 h 2344739"/>
              <a:gd name="connsiteX92" fmla="*/ 8490249 w 12192001"/>
              <a:gd name="connsiteY92" fmla="*/ 1943773 h 2344739"/>
              <a:gd name="connsiteX93" fmla="*/ 8367182 w 12192001"/>
              <a:gd name="connsiteY93" fmla="*/ 1957815 h 2344739"/>
              <a:gd name="connsiteX94" fmla="*/ 8353799 w 12192001"/>
              <a:gd name="connsiteY94" fmla="*/ 1958009 h 2344739"/>
              <a:gd name="connsiteX95" fmla="*/ 8352373 w 12192001"/>
              <a:gd name="connsiteY95" fmla="*/ 1957169 h 2344739"/>
              <a:gd name="connsiteX96" fmla="*/ 8320104 w 12192001"/>
              <a:gd name="connsiteY96" fmla="*/ 1974587 h 2344739"/>
              <a:gd name="connsiteX97" fmla="*/ 8314433 w 12192001"/>
              <a:gd name="connsiteY97" fmla="*/ 1974913 h 2344739"/>
              <a:gd name="connsiteX98" fmla="*/ 8295174 w 12192001"/>
              <a:gd name="connsiteY98" fmla="*/ 1988808 h 2344739"/>
              <a:gd name="connsiteX99" fmla="*/ 8284276 w 12192001"/>
              <a:gd name="connsiteY99" fmla="*/ 1994631 h 2344739"/>
              <a:gd name="connsiteX100" fmla="*/ 8283150 w 12192001"/>
              <a:gd name="connsiteY100" fmla="*/ 1999074 h 2344739"/>
              <a:gd name="connsiteX101" fmla="*/ 8266076 w 12192001"/>
              <a:gd name="connsiteY101" fmla="*/ 2006249 h 2344739"/>
              <a:gd name="connsiteX102" fmla="*/ 8263377 w 12192001"/>
              <a:gd name="connsiteY102" fmla="*/ 2006019 h 2344739"/>
              <a:gd name="connsiteX103" fmla="*/ 8252033 w 12192001"/>
              <a:gd name="connsiteY103" fmla="*/ 2015862 h 2344739"/>
              <a:gd name="connsiteX104" fmla="*/ 8245834 w 12192001"/>
              <a:gd name="connsiteY104" fmla="*/ 2028854 h 2344739"/>
              <a:gd name="connsiteX105" fmla="*/ 8090272 w 12192001"/>
              <a:gd name="connsiteY105" fmla="*/ 2075015 h 2344739"/>
              <a:gd name="connsiteX106" fmla="*/ 7905407 w 12192001"/>
              <a:gd name="connsiteY106" fmla="*/ 2116988 h 2344739"/>
              <a:gd name="connsiteX107" fmla="*/ 7718745 w 12192001"/>
              <a:gd name="connsiteY107" fmla="*/ 2142703 h 2344739"/>
              <a:gd name="connsiteX108" fmla="*/ 7614347 w 12192001"/>
              <a:gd name="connsiteY108" fmla="*/ 2139232 h 2344739"/>
              <a:gd name="connsiteX109" fmla="*/ 7527543 w 12192001"/>
              <a:gd name="connsiteY109" fmla="*/ 2145060 h 2344739"/>
              <a:gd name="connsiteX110" fmla="*/ 7519571 w 12192001"/>
              <a:gd name="connsiteY110" fmla="*/ 2147613 h 2344739"/>
              <a:gd name="connsiteX111" fmla="*/ 7507411 w 12192001"/>
              <a:gd name="connsiteY111" fmla="*/ 2148948 h 2344739"/>
              <a:gd name="connsiteX112" fmla="*/ 7507040 w 12192001"/>
              <a:gd name="connsiteY112" fmla="*/ 2148621 h 2344739"/>
              <a:gd name="connsiteX113" fmla="*/ 7495795 w 12192001"/>
              <a:gd name="connsiteY113" fmla="*/ 2150573 h 2344739"/>
              <a:gd name="connsiteX114" fmla="*/ 7405391 w 12192001"/>
              <a:gd name="connsiteY114" fmla="*/ 2142468 h 2344739"/>
              <a:gd name="connsiteX115" fmla="*/ 7312180 w 12192001"/>
              <a:gd name="connsiteY115" fmla="*/ 2132873 h 2344739"/>
              <a:gd name="connsiteX116" fmla="*/ 7310853 w 12192001"/>
              <a:gd name="connsiteY116" fmla="*/ 2131431 h 2344739"/>
              <a:gd name="connsiteX117" fmla="*/ 7218559 w 12192001"/>
              <a:gd name="connsiteY117" fmla="*/ 2156680 h 2344739"/>
              <a:gd name="connsiteX118" fmla="*/ 7201101 w 12192001"/>
              <a:gd name="connsiteY118" fmla="*/ 2161230 h 2344739"/>
              <a:gd name="connsiteX119" fmla="*/ 7197004 w 12192001"/>
              <a:gd name="connsiteY119" fmla="*/ 2166588 h 2344739"/>
              <a:gd name="connsiteX120" fmla="*/ 7170808 w 12192001"/>
              <a:gd name="connsiteY120" fmla="*/ 2171236 h 2344739"/>
              <a:gd name="connsiteX121" fmla="*/ 7096988 w 12192001"/>
              <a:gd name="connsiteY121" fmla="*/ 2183464 h 2344739"/>
              <a:gd name="connsiteX122" fmla="*/ 7018496 w 12192001"/>
              <a:gd name="connsiteY122" fmla="*/ 2183090 h 2344739"/>
              <a:gd name="connsiteX123" fmla="*/ 6904146 w 12192001"/>
              <a:gd name="connsiteY123" fmla="*/ 2212596 h 2344739"/>
              <a:gd name="connsiteX124" fmla="*/ 6708222 w 12192001"/>
              <a:gd name="connsiteY124" fmla="*/ 2240551 h 2344739"/>
              <a:gd name="connsiteX125" fmla="*/ 6549454 w 12192001"/>
              <a:gd name="connsiteY125" fmla="*/ 2269327 h 2344739"/>
              <a:gd name="connsiteX126" fmla="*/ 6317560 w 12192001"/>
              <a:gd name="connsiteY126" fmla="*/ 2316127 h 2344739"/>
              <a:gd name="connsiteX127" fmla="*/ 6168674 w 12192001"/>
              <a:gd name="connsiteY127" fmla="*/ 2318214 h 2344739"/>
              <a:gd name="connsiteX128" fmla="*/ 6073848 w 12192001"/>
              <a:gd name="connsiteY128" fmla="*/ 2338676 h 2344739"/>
              <a:gd name="connsiteX129" fmla="*/ 6068529 w 12192001"/>
              <a:gd name="connsiteY129" fmla="*/ 2337139 h 2344739"/>
              <a:gd name="connsiteX130" fmla="*/ 6048638 w 12192001"/>
              <a:gd name="connsiteY130" fmla="*/ 2337822 h 2344739"/>
              <a:gd name="connsiteX131" fmla="*/ 6041285 w 12192001"/>
              <a:gd name="connsiteY131" fmla="*/ 2329473 h 2344739"/>
              <a:gd name="connsiteX132" fmla="*/ 6010090 w 12192001"/>
              <a:gd name="connsiteY132" fmla="*/ 2324380 h 2344739"/>
              <a:gd name="connsiteX133" fmla="*/ 5957375 w 12192001"/>
              <a:gd name="connsiteY133" fmla="*/ 2328024 h 2344739"/>
              <a:gd name="connsiteX134" fmla="*/ 5758919 w 12192001"/>
              <a:gd name="connsiteY134" fmla="*/ 2343716 h 2344739"/>
              <a:gd name="connsiteX135" fmla="*/ 5626960 w 12192001"/>
              <a:gd name="connsiteY135" fmla="*/ 2344739 h 2344739"/>
              <a:gd name="connsiteX136" fmla="*/ 5470906 w 12192001"/>
              <a:gd name="connsiteY136" fmla="*/ 2330719 h 2344739"/>
              <a:gd name="connsiteX137" fmla="*/ 5432761 w 12192001"/>
              <a:gd name="connsiteY137" fmla="*/ 2319466 h 2344739"/>
              <a:gd name="connsiteX138" fmla="*/ 5381669 w 12192001"/>
              <a:gd name="connsiteY138" fmla="*/ 2301764 h 2344739"/>
              <a:gd name="connsiteX139" fmla="*/ 5261764 w 12192001"/>
              <a:gd name="connsiteY139" fmla="*/ 2281347 h 2344739"/>
              <a:gd name="connsiteX140" fmla="*/ 5222961 w 12192001"/>
              <a:gd name="connsiteY140" fmla="*/ 2270223 h 2344739"/>
              <a:gd name="connsiteX141" fmla="*/ 5174660 w 12192001"/>
              <a:gd name="connsiteY141" fmla="*/ 2267233 h 2344739"/>
              <a:gd name="connsiteX142" fmla="*/ 5156554 w 12192001"/>
              <a:gd name="connsiteY142" fmla="*/ 2260010 h 2344739"/>
              <a:gd name="connsiteX143" fmla="*/ 5142599 w 12192001"/>
              <a:gd name="connsiteY143" fmla="*/ 2256610 h 2344739"/>
              <a:gd name="connsiteX144" fmla="*/ 5139596 w 12192001"/>
              <a:gd name="connsiteY144" fmla="*/ 2254509 h 2344739"/>
              <a:gd name="connsiteX145" fmla="*/ 5121659 w 12192001"/>
              <a:gd name="connsiteY145" fmla="*/ 2243656 h 2344739"/>
              <a:gd name="connsiteX146" fmla="*/ 5065790 w 12192001"/>
              <a:gd name="connsiteY146" fmla="*/ 2250227 h 2344739"/>
              <a:gd name="connsiteX147" fmla="*/ 5011514 w 12192001"/>
              <a:gd name="connsiteY147" fmla="*/ 2233846 h 2344739"/>
              <a:gd name="connsiteX148" fmla="*/ 4840441 w 12192001"/>
              <a:gd name="connsiteY148" fmla="*/ 2209829 h 2344739"/>
              <a:gd name="connsiteX149" fmla="*/ 4762447 w 12192001"/>
              <a:gd name="connsiteY149" fmla="*/ 2182061 h 2344739"/>
              <a:gd name="connsiteX150" fmla="*/ 4723186 w 12192001"/>
              <a:gd name="connsiteY150" fmla="*/ 2173047 h 2344739"/>
              <a:gd name="connsiteX151" fmla="*/ 4721176 w 12192001"/>
              <a:gd name="connsiteY151" fmla="*/ 2172298 h 2344739"/>
              <a:gd name="connsiteX152" fmla="*/ 4722111 w 12192001"/>
              <a:gd name="connsiteY152" fmla="*/ 2172087 h 2344739"/>
              <a:gd name="connsiteX153" fmla="*/ 4717202 w 12192001"/>
              <a:gd name="connsiteY153" fmla="*/ 2170817 h 2344739"/>
              <a:gd name="connsiteX154" fmla="*/ 4721176 w 12192001"/>
              <a:gd name="connsiteY154" fmla="*/ 2172298 h 2344739"/>
              <a:gd name="connsiteX155" fmla="*/ 4715526 w 12192001"/>
              <a:gd name="connsiteY155" fmla="*/ 2173573 h 2344739"/>
              <a:gd name="connsiteX156" fmla="*/ 4515814 w 12192001"/>
              <a:gd name="connsiteY156" fmla="*/ 2163671 h 2344739"/>
              <a:gd name="connsiteX157" fmla="*/ 4428543 w 12192001"/>
              <a:gd name="connsiteY157" fmla="*/ 2153020 h 2344739"/>
              <a:gd name="connsiteX158" fmla="*/ 4362875 w 12192001"/>
              <a:gd name="connsiteY158" fmla="*/ 2151674 h 2344739"/>
              <a:gd name="connsiteX159" fmla="*/ 4316966 w 12192001"/>
              <a:gd name="connsiteY159" fmla="*/ 2158289 h 2344739"/>
              <a:gd name="connsiteX160" fmla="*/ 4315110 w 12192001"/>
              <a:gd name="connsiteY160" fmla="*/ 2156948 h 2344739"/>
              <a:gd name="connsiteX161" fmla="*/ 4295144 w 12192001"/>
              <a:gd name="connsiteY161" fmla="*/ 2155069 h 2344739"/>
              <a:gd name="connsiteX162" fmla="*/ 4290064 w 12192001"/>
              <a:gd name="connsiteY162" fmla="*/ 2157986 h 2344739"/>
              <a:gd name="connsiteX163" fmla="*/ 4276142 w 12192001"/>
              <a:gd name="connsiteY163" fmla="*/ 2157740 h 2344739"/>
              <a:gd name="connsiteX164" fmla="*/ 4248117 w 12192001"/>
              <a:gd name="connsiteY164" fmla="*/ 2160064 h 2344739"/>
              <a:gd name="connsiteX165" fmla="*/ 4202051 w 12192001"/>
              <a:gd name="connsiteY165" fmla="*/ 2157269 h 2344739"/>
              <a:gd name="connsiteX166" fmla="*/ 4201745 w 12192001"/>
              <a:gd name="connsiteY166" fmla="*/ 2156010 h 2344739"/>
              <a:gd name="connsiteX167" fmla="*/ 4191248 w 12192001"/>
              <a:gd name="connsiteY167" fmla="*/ 2150376 h 2344739"/>
              <a:gd name="connsiteX168" fmla="*/ 4142745 w 12192001"/>
              <a:gd name="connsiteY168" fmla="*/ 2134511 h 2344739"/>
              <a:gd name="connsiteX169" fmla="*/ 4083097 w 12192001"/>
              <a:gd name="connsiteY169" fmla="*/ 2107978 h 2344739"/>
              <a:gd name="connsiteX170" fmla="*/ 4074546 w 12192001"/>
              <a:gd name="connsiteY170" fmla="*/ 2107143 h 2344739"/>
              <a:gd name="connsiteX171" fmla="*/ 4074427 w 12192001"/>
              <a:gd name="connsiteY171" fmla="*/ 2106844 h 2344739"/>
              <a:gd name="connsiteX172" fmla="*/ 4065510 w 12192001"/>
              <a:gd name="connsiteY172" fmla="*/ 2105400 h 2344739"/>
              <a:gd name="connsiteX173" fmla="*/ 4058954 w 12192001"/>
              <a:gd name="connsiteY173" fmla="*/ 2105618 h 2344739"/>
              <a:gd name="connsiteX174" fmla="*/ 4042364 w 12192001"/>
              <a:gd name="connsiteY174" fmla="*/ 2103997 h 2344739"/>
              <a:gd name="connsiteX175" fmla="*/ 4036997 w 12192001"/>
              <a:gd name="connsiteY175" fmla="*/ 2101563 h 2344739"/>
              <a:gd name="connsiteX176" fmla="*/ 4035363 w 12192001"/>
              <a:gd name="connsiteY176" fmla="*/ 2097896 h 2344739"/>
              <a:gd name="connsiteX177" fmla="*/ 4033778 w 12192001"/>
              <a:gd name="connsiteY177" fmla="*/ 2098131 h 2344739"/>
              <a:gd name="connsiteX178" fmla="*/ 4004538 w 12192001"/>
              <a:gd name="connsiteY178" fmla="*/ 2085563 h 2344739"/>
              <a:gd name="connsiteX179" fmla="*/ 3936846 w 12192001"/>
              <a:gd name="connsiteY179" fmla="*/ 2068106 h 2344739"/>
              <a:gd name="connsiteX180" fmla="*/ 3897275 w 12192001"/>
              <a:gd name="connsiteY180" fmla="*/ 2062451 h 2344739"/>
              <a:gd name="connsiteX181" fmla="*/ 3789760 w 12192001"/>
              <a:gd name="connsiteY181" fmla="*/ 2042213 h 2344739"/>
              <a:gd name="connsiteX182" fmla="*/ 3682513 w 12192001"/>
              <a:gd name="connsiteY182" fmla="*/ 2018290 h 2344739"/>
              <a:gd name="connsiteX183" fmla="*/ 3610035 w 12192001"/>
              <a:gd name="connsiteY183" fmla="*/ 1986019 h 2344739"/>
              <a:gd name="connsiteX184" fmla="*/ 3603855 w 12192001"/>
              <a:gd name="connsiteY184" fmla="*/ 1987381 h 2344739"/>
              <a:gd name="connsiteX185" fmla="*/ 3594736 w 12192001"/>
              <a:gd name="connsiteY185" fmla="*/ 1987545 h 2344739"/>
              <a:gd name="connsiteX186" fmla="*/ 3594501 w 12192001"/>
              <a:gd name="connsiteY186" fmla="*/ 1987276 h 2344739"/>
              <a:gd name="connsiteX187" fmla="*/ 3585978 w 12192001"/>
              <a:gd name="connsiteY187" fmla="*/ 1987966 h 2344739"/>
              <a:gd name="connsiteX188" fmla="*/ 3536135 w 12192001"/>
              <a:gd name="connsiteY188" fmla="*/ 1978267 h 2344739"/>
              <a:gd name="connsiteX189" fmla="*/ 3473223 w 12192001"/>
              <a:gd name="connsiteY189" fmla="*/ 1974606 h 2344739"/>
              <a:gd name="connsiteX190" fmla="*/ 3400728 w 12192001"/>
              <a:gd name="connsiteY190" fmla="*/ 1962558 h 2344739"/>
              <a:gd name="connsiteX191" fmla="*/ 3363888 w 12192001"/>
              <a:gd name="connsiteY191" fmla="*/ 1979510 h 2344739"/>
              <a:gd name="connsiteX192" fmla="*/ 3344026 w 12192001"/>
              <a:gd name="connsiteY192" fmla="*/ 1981192 h 2344739"/>
              <a:gd name="connsiteX193" fmla="*/ 3341698 w 12192001"/>
              <a:gd name="connsiteY193" fmla="*/ 1980217 h 2344739"/>
              <a:gd name="connsiteX194" fmla="*/ 3262356 w 12192001"/>
              <a:gd name="connsiteY194" fmla="*/ 1986094 h 2344739"/>
              <a:gd name="connsiteX195" fmla="*/ 3142556 w 12192001"/>
              <a:gd name="connsiteY195" fmla="*/ 1993869 h 2344739"/>
              <a:gd name="connsiteX196" fmla="*/ 3030291 w 12192001"/>
              <a:gd name="connsiteY196" fmla="*/ 1996512 h 2344739"/>
              <a:gd name="connsiteX197" fmla="*/ 2781569 w 12192001"/>
              <a:gd name="connsiteY197" fmla="*/ 2018333 h 2344739"/>
              <a:gd name="connsiteX198" fmla="*/ 2646527 w 12192001"/>
              <a:gd name="connsiteY198" fmla="*/ 2028869 h 2344739"/>
              <a:gd name="connsiteX199" fmla="*/ 2568028 w 12192001"/>
              <a:gd name="connsiteY199" fmla="*/ 2002628 h 2344739"/>
              <a:gd name="connsiteX200" fmla="*/ 2443255 w 12192001"/>
              <a:gd name="connsiteY200" fmla="*/ 2016529 h 2344739"/>
              <a:gd name="connsiteX201" fmla="*/ 2315112 w 12192001"/>
              <a:gd name="connsiteY201" fmla="*/ 2024996 h 2344739"/>
              <a:gd name="connsiteX202" fmla="*/ 2208578 w 12192001"/>
              <a:gd name="connsiteY202" fmla="*/ 2019763 h 2344739"/>
              <a:gd name="connsiteX203" fmla="*/ 2094665 w 12192001"/>
              <a:gd name="connsiteY203" fmla="*/ 2003052 h 2344739"/>
              <a:gd name="connsiteX204" fmla="*/ 1997356 w 12192001"/>
              <a:gd name="connsiteY204" fmla="*/ 1995032 h 2344739"/>
              <a:gd name="connsiteX205" fmla="*/ 1928172 w 12192001"/>
              <a:gd name="connsiteY205" fmla="*/ 2016977 h 2344739"/>
              <a:gd name="connsiteX206" fmla="*/ 1921650 w 12192001"/>
              <a:gd name="connsiteY206" fmla="*/ 2012146 h 2344739"/>
              <a:gd name="connsiteX207" fmla="*/ 1873080 w 12192001"/>
              <a:gd name="connsiteY207" fmla="*/ 2013741 h 2344739"/>
              <a:gd name="connsiteX208" fmla="*/ 1786655 w 12192001"/>
              <a:gd name="connsiteY208" fmla="*/ 2041363 h 2344739"/>
              <a:gd name="connsiteX209" fmla="*/ 1738204 w 12192001"/>
              <a:gd name="connsiteY209" fmla="*/ 2036312 h 2344739"/>
              <a:gd name="connsiteX210" fmla="*/ 1675071 w 12192001"/>
              <a:gd name="connsiteY210" fmla="*/ 2019963 h 2344739"/>
              <a:gd name="connsiteX211" fmla="*/ 1608669 w 12192001"/>
              <a:gd name="connsiteY211" fmla="*/ 2013066 h 2344739"/>
              <a:gd name="connsiteX212" fmla="*/ 1496110 w 12192001"/>
              <a:gd name="connsiteY212" fmla="*/ 1987476 h 2344739"/>
              <a:gd name="connsiteX213" fmla="*/ 1149979 w 12192001"/>
              <a:gd name="connsiteY213" fmla="*/ 1938041 h 2344739"/>
              <a:gd name="connsiteX214" fmla="*/ 858269 w 12192001"/>
              <a:gd name="connsiteY214" fmla="*/ 1928608 h 2344739"/>
              <a:gd name="connsiteX215" fmla="*/ 837540 w 12192001"/>
              <a:gd name="connsiteY215" fmla="*/ 1929821 h 2344739"/>
              <a:gd name="connsiteX216" fmla="*/ 816809 w 12192001"/>
              <a:gd name="connsiteY216" fmla="*/ 1927857 h 2344739"/>
              <a:gd name="connsiteX217" fmla="*/ 811506 w 12192001"/>
              <a:gd name="connsiteY217" fmla="*/ 1930751 h 2344739"/>
              <a:gd name="connsiteX218" fmla="*/ 797041 w 12192001"/>
              <a:gd name="connsiteY218" fmla="*/ 1930446 h 2344739"/>
              <a:gd name="connsiteX219" fmla="*/ 767901 w 12192001"/>
              <a:gd name="connsiteY219" fmla="*/ 1932653 h 2344739"/>
              <a:gd name="connsiteX220" fmla="*/ 763053 w 12192001"/>
              <a:gd name="connsiteY220" fmla="*/ 1930432 h 2344739"/>
              <a:gd name="connsiteX221" fmla="*/ 720047 w 12192001"/>
              <a:gd name="connsiteY221" fmla="*/ 1929661 h 2344739"/>
              <a:gd name="connsiteX222" fmla="*/ 719742 w 12192001"/>
              <a:gd name="connsiteY222" fmla="*/ 1928399 h 2344739"/>
              <a:gd name="connsiteX223" fmla="*/ 708875 w 12192001"/>
              <a:gd name="connsiteY223" fmla="*/ 1922722 h 2344739"/>
              <a:gd name="connsiteX224" fmla="*/ 596792 w 12192001"/>
              <a:gd name="connsiteY224" fmla="*/ 1879864 h 2344739"/>
              <a:gd name="connsiteX225" fmla="*/ 578535 w 12192001"/>
              <a:gd name="connsiteY225" fmla="*/ 1877212 h 2344739"/>
              <a:gd name="connsiteX226" fmla="*/ 571717 w 12192001"/>
              <a:gd name="connsiteY226" fmla="*/ 1877401 h 2344739"/>
              <a:gd name="connsiteX227" fmla="*/ 445099 w 12192001"/>
              <a:gd name="connsiteY227" fmla="*/ 1839371 h 2344739"/>
              <a:gd name="connsiteX228" fmla="*/ 404015 w 12192001"/>
              <a:gd name="connsiteY228" fmla="*/ 1833548 h 2344739"/>
              <a:gd name="connsiteX229" fmla="*/ 292435 w 12192001"/>
              <a:gd name="connsiteY229" fmla="*/ 1812852 h 2344739"/>
              <a:gd name="connsiteX230" fmla="*/ 118381 w 12192001"/>
              <a:gd name="connsiteY230" fmla="*/ 1761047 h 2344739"/>
              <a:gd name="connsiteX231" fmla="*/ 15526 w 12192001"/>
              <a:gd name="connsiteY231" fmla="*/ 1758191 h 2344739"/>
              <a:gd name="connsiteX232" fmla="*/ 2 w 12192001"/>
              <a:gd name="connsiteY232" fmla="*/ 1752722 h 2344739"/>
              <a:gd name="connsiteX233" fmla="*/ 1 w 12192001"/>
              <a:gd name="connsiteY233" fmla="*/ 762497 h 2344739"/>
              <a:gd name="connsiteX234" fmla="*/ 0 w 12192001"/>
              <a:gd name="connsiteY234" fmla="*/ 762497 h 2344739"/>
              <a:gd name="connsiteX235" fmla="*/ 0 w 12192001"/>
              <a:gd name="connsiteY235" fmla="*/ 222213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57107 w 12192001"/>
              <a:gd name="connsiteY22" fmla="*/ 792050 h 2344739"/>
              <a:gd name="connsiteX23" fmla="*/ 11810326 w 12192001"/>
              <a:gd name="connsiteY23" fmla="*/ 799074 h 2344739"/>
              <a:gd name="connsiteX24" fmla="*/ 11595155 w 12192001"/>
              <a:gd name="connsiteY24" fmla="*/ 918898 h 2344739"/>
              <a:gd name="connsiteX25" fmla="*/ 11306392 w 12192001"/>
              <a:gd name="connsiteY25" fmla="*/ 1272239 h 2344739"/>
              <a:gd name="connsiteX26" fmla="*/ 11309326 w 12192001"/>
              <a:gd name="connsiteY26" fmla="*/ 1274846 h 2344739"/>
              <a:gd name="connsiteX27" fmla="*/ 11294224 w 12192001"/>
              <a:gd name="connsiteY27" fmla="*/ 1283683 h 2344739"/>
              <a:gd name="connsiteX28" fmla="*/ 11245526 w 12192001"/>
              <a:gd name="connsiteY28" fmla="*/ 1274060 h 2344739"/>
              <a:gd name="connsiteX29" fmla="*/ 11227161 w 12192001"/>
              <a:gd name="connsiteY29" fmla="*/ 1276236 h 2344739"/>
              <a:gd name="connsiteX30" fmla="*/ 11216939 w 12192001"/>
              <a:gd name="connsiteY30" fmla="*/ 1275961 h 2344739"/>
              <a:gd name="connsiteX31" fmla="*/ 11216036 w 12192001"/>
              <a:gd name="connsiteY31" fmla="*/ 1275018 h 2344739"/>
              <a:gd name="connsiteX32" fmla="*/ 11187737 w 12192001"/>
              <a:gd name="connsiteY32" fmla="*/ 1292383 h 2344739"/>
              <a:gd name="connsiteX33" fmla="*/ 11183353 w 12192001"/>
              <a:gd name="connsiteY33" fmla="*/ 1292525 h 2344739"/>
              <a:gd name="connsiteX34" fmla="*/ 11165706 w 12192001"/>
              <a:gd name="connsiteY34" fmla="*/ 1306612 h 2344739"/>
              <a:gd name="connsiteX35" fmla="*/ 11156163 w 12192001"/>
              <a:gd name="connsiteY35" fmla="*/ 1312414 h 2344739"/>
              <a:gd name="connsiteX36" fmla="*/ 11154348 w 12192001"/>
              <a:gd name="connsiteY36" fmla="*/ 1317097 h 2344739"/>
              <a:gd name="connsiteX37" fmla="*/ 11139813 w 12192001"/>
              <a:gd name="connsiteY37" fmla="*/ 1324115 h 2344739"/>
              <a:gd name="connsiteX38" fmla="*/ 11137813 w 12192001"/>
              <a:gd name="connsiteY38" fmla="*/ 1323772 h 2344739"/>
              <a:gd name="connsiteX39" fmla="*/ 11127060 w 12192001"/>
              <a:gd name="connsiteY39" fmla="*/ 1333832 h 2344739"/>
              <a:gd name="connsiteX40" fmla="*/ 11119543 w 12192001"/>
              <a:gd name="connsiteY40" fmla="*/ 1347424 h 2344739"/>
              <a:gd name="connsiteX41" fmla="*/ 10893535 w 12192001"/>
              <a:gd name="connsiteY41" fmla="*/ 1473399 h 2344739"/>
              <a:gd name="connsiteX42" fmla="*/ 10772152 w 12192001"/>
              <a:gd name="connsiteY42" fmla="*/ 1523191 h 2344739"/>
              <a:gd name="connsiteX43" fmla="*/ 10626520 w 12192001"/>
              <a:gd name="connsiteY43" fmla="*/ 1559229 h 2344739"/>
              <a:gd name="connsiteX44" fmla="*/ 10580747 w 12192001"/>
              <a:gd name="connsiteY44" fmla="*/ 1568689 h 2344739"/>
              <a:gd name="connsiteX45" fmla="*/ 10546642 w 12192001"/>
              <a:gd name="connsiteY45" fmla="*/ 1598423 h 2344739"/>
              <a:gd name="connsiteX46" fmla="*/ 10528495 w 12192001"/>
              <a:gd name="connsiteY46" fmla="*/ 1596907 h 2344739"/>
              <a:gd name="connsiteX47" fmla="*/ 10525298 w 12192001"/>
              <a:gd name="connsiteY47" fmla="*/ 1596411 h 2344739"/>
              <a:gd name="connsiteX48" fmla="*/ 10513981 w 12192001"/>
              <a:gd name="connsiteY48" fmla="*/ 1599537 h 2344739"/>
              <a:gd name="connsiteX49" fmla="*/ 10490587 w 12192001"/>
              <a:gd name="connsiteY49" fmla="*/ 1594156 h 2344739"/>
              <a:gd name="connsiteX50" fmla="*/ 10470270 w 12192001"/>
              <a:gd name="connsiteY50" fmla="*/ 1601693 h 2344739"/>
              <a:gd name="connsiteX51" fmla="*/ 10375894 w 12192001"/>
              <a:gd name="connsiteY51" fmla="*/ 1644598 h 2344739"/>
              <a:gd name="connsiteX52" fmla="*/ 10318190 w 12192001"/>
              <a:gd name="connsiteY52" fmla="*/ 1666221 h 2344739"/>
              <a:gd name="connsiteX53" fmla="*/ 10294319 w 12192001"/>
              <a:gd name="connsiteY53" fmla="*/ 1668079 h 2344739"/>
              <a:gd name="connsiteX54" fmla="*/ 10262295 w 12192001"/>
              <a:gd name="connsiteY54" fmla="*/ 1674948 h 2344739"/>
              <a:gd name="connsiteX55" fmla="*/ 10204270 w 12192001"/>
              <a:gd name="connsiteY55" fmla="*/ 1682149 h 2344739"/>
              <a:gd name="connsiteX56" fmla="*/ 10176611 w 12192001"/>
              <a:gd name="connsiteY56" fmla="*/ 1692943 h 2344739"/>
              <a:gd name="connsiteX57" fmla="*/ 10163922 w 12192001"/>
              <a:gd name="connsiteY57" fmla="*/ 1693739 h 2344739"/>
              <a:gd name="connsiteX58" fmla="*/ 10155160 w 12192001"/>
              <a:gd name="connsiteY58" fmla="*/ 1707487 h 2344739"/>
              <a:gd name="connsiteX59" fmla="*/ 10117119 w 12192001"/>
              <a:gd name="connsiteY59" fmla="*/ 1731142 h 2344739"/>
              <a:gd name="connsiteX60" fmla="*/ 10100445 w 12192001"/>
              <a:gd name="connsiteY60" fmla="*/ 1742432 h 2344739"/>
              <a:gd name="connsiteX61" fmla="*/ 10082169 w 12192001"/>
              <a:gd name="connsiteY61" fmla="*/ 1743296 h 2344739"/>
              <a:gd name="connsiteX62" fmla="*/ 10039240 w 12192001"/>
              <a:gd name="connsiteY62" fmla="*/ 1741632 h 2344739"/>
              <a:gd name="connsiteX63" fmla="*/ 9960019 w 12192001"/>
              <a:gd name="connsiteY63" fmla="*/ 1757147 h 2344739"/>
              <a:gd name="connsiteX64" fmla="*/ 9847792 w 12192001"/>
              <a:gd name="connsiteY64" fmla="*/ 1763915 h 2344739"/>
              <a:gd name="connsiteX65" fmla="*/ 9728309 w 12192001"/>
              <a:gd name="connsiteY65" fmla="*/ 1784122 h 2344739"/>
              <a:gd name="connsiteX66" fmla="*/ 9584507 w 12192001"/>
              <a:gd name="connsiteY66" fmla="*/ 1795542 h 2344739"/>
              <a:gd name="connsiteX67" fmla="*/ 9343052 w 12192001"/>
              <a:gd name="connsiteY67" fmla="*/ 1841244 h 2344739"/>
              <a:gd name="connsiteX68" fmla="*/ 9231370 w 12192001"/>
              <a:gd name="connsiteY68" fmla="*/ 1893149 h 2344739"/>
              <a:gd name="connsiteX69" fmla="*/ 9194810 w 12192001"/>
              <a:gd name="connsiteY69" fmla="*/ 1903228 h 2344739"/>
              <a:gd name="connsiteX70" fmla="*/ 9189246 w 12192001"/>
              <a:gd name="connsiteY70" fmla="*/ 1912467 h 2344739"/>
              <a:gd name="connsiteX71" fmla="*/ 9151232 w 12192001"/>
              <a:gd name="connsiteY71" fmla="*/ 1923669 h 2344739"/>
              <a:gd name="connsiteX72" fmla="*/ 9150210 w 12192001"/>
              <a:gd name="connsiteY72" fmla="*/ 1922604 h 2344739"/>
              <a:gd name="connsiteX73" fmla="*/ 9137318 w 12192001"/>
              <a:gd name="connsiteY73" fmla="*/ 1920435 h 2344739"/>
              <a:gd name="connsiteX74" fmla="*/ 9113812 w 12192001"/>
              <a:gd name="connsiteY74" fmla="*/ 1919069 h 2344739"/>
              <a:gd name="connsiteX75" fmla="*/ 9053453 w 12192001"/>
              <a:gd name="connsiteY75" fmla="*/ 1910755 h 2344739"/>
              <a:gd name="connsiteX76" fmla="*/ 9005486 w 12192001"/>
              <a:gd name="connsiteY76" fmla="*/ 1914040 h 2344739"/>
              <a:gd name="connsiteX77" fmla="*/ 9005201 w 12192001"/>
              <a:gd name="connsiteY77" fmla="*/ 1913800 h 2344739"/>
              <a:gd name="connsiteX78" fmla="*/ 8996232 w 12192001"/>
              <a:gd name="connsiteY78" fmla="*/ 1915011 h 2344739"/>
              <a:gd name="connsiteX79" fmla="*/ 8990394 w 12192001"/>
              <a:gd name="connsiteY79" fmla="*/ 1917072 h 2344739"/>
              <a:gd name="connsiteX80" fmla="*/ 8974337 w 12192001"/>
              <a:gd name="connsiteY80" fmla="*/ 1920298 h 2344739"/>
              <a:gd name="connsiteX81" fmla="*/ 8968011 w 12192001"/>
              <a:gd name="connsiteY81" fmla="*/ 1919598 h 2344739"/>
              <a:gd name="connsiteX82" fmla="*/ 8963048 w 12192001"/>
              <a:gd name="connsiteY82" fmla="*/ 1917373 h 2344739"/>
              <a:gd name="connsiteX83" fmla="*/ 8928988 w 12192001"/>
              <a:gd name="connsiteY83" fmla="*/ 1914185 h 2344739"/>
              <a:gd name="connsiteX84" fmla="*/ 8752444 w 12192001"/>
              <a:gd name="connsiteY84" fmla="*/ 1933417 h 2344739"/>
              <a:gd name="connsiteX85" fmla="*/ 8707847 w 12192001"/>
              <a:gd name="connsiteY85" fmla="*/ 1935518 h 2344739"/>
              <a:gd name="connsiteX86" fmla="*/ 8596071 w 12192001"/>
              <a:gd name="connsiteY86" fmla="*/ 1944090 h 2344739"/>
              <a:gd name="connsiteX87" fmla="*/ 8525230 w 12192001"/>
              <a:gd name="connsiteY87" fmla="*/ 1929248 h 2344739"/>
              <a:gd name="connsiteX88" fmla="*/ 8510983 w 12192001"/>
              <a:gd name="connsiteY88" fmla="*/ 1935163 h 2344739"/>
              <a:gd name="connsiteX89" fmla="*/ 8506167 w 12192001"/>
              <a:gd name="connsiteY89" fmla="*/ 1938164 h 2344739"/>
              <a:gd name="connsiteX90" fmla="*/ 8497968 w 12192001"/>
              <a:gd name="connsiteY90" fmla="*/ 1940902 h 2344739"/>
              <a:gd name="connsiteX91" fmla="*/ 8497594 w 12192001"/>
              <a:gd name="connsiteY91" fmla="*/ 1940723 h 2344739"/>
              <a:gd name="connsiteX92" fmla="*/ 8490249 w 12192001"/>
              <a:gd name="connsiteY92" fmla="*/ 1943773 h 2344739"/>
              <a:gd name="connsiteX93" fmla="*/ 8367182 w 12192001"/>
              <a:gd name="connsiteY93" fmla="*/ 1957815 h 2344739"/>
              <a:gd name="connsiteX94" fmla="*/ 8353799 w 12192001"/>
              <a:gd name="connsiteY94" fmla="*/ 1958009 h 2344739"/>
              <a:gd name="connsiteX95" fmla="*/ 8352373 w 12192001"/>
              <a:gd name="connsiteY95" fmla="*/ 1957169 h 2344739"/>
              <a:gd name="connsiteX96" fmla="*/ 8320104 w 12192001"/>
              <a:gd name="connsiteY96" fmla="*/ 1974587 h 2344739"/>
              <a:gd name="connsiteX97" fmla="*/ 8314433 w 12192001"/>
              <a:gd name="connsiteY97" fmla="*/ 1974913 h 2344739"/>
              <a:gd name="connsiteX98" fmla="*/ 8295174 w 12192001"/>
              <a:gd name="connsiteY98" fmla="*/ 1988808 h 2344739"/>
              <a:gd name="connsiteX99" fmla="*/ 8284276 w 12192001"/>
              <a:gd name="connsiteY99" fmla="*/ 1994631 h 2344739"/>
              <a:gd name="connsiteX100" fmla="*/ 8283150 w 12192001"/>
              <a:gd name="connsiteY100" fmla="*/ 1999074 h 2344739"/>
              <a:gd name="connsiteX101" fmla="*/ 8266076 w 12192001"/>
              <a:gd name="connsiteY101" fmla="*/ 2006249 h 2344739"/>
              <a:gd name="connsiteX102" fmla="*/ 8263377 w 12192001"/>
              <a:gd name="connsiteY102" fmla="*/ 2006019 h 2344739"/>
              <a:gd name="connsiteX103" fmla="*/ 8252033 w 12192001"/>
              <a:gd name="connsiteY103" fmla="*/ 2015862 h 2344739"/>
              <a:gd name="connsiteX104" fmla="*/ 8245834 w 12192001"/>
              <a:gd name="connsiteY104" fmla="*/ 2028854 h 2344739"/>
              <a:gd name="connsiteX105" fmla="*/ 8090272 w 12192001"/>
              <a:gd name="connsiteY105" fmla="*/ 2075015 h 2344739"/>
              <a:gd name="connsiteX106" fmla="*/ 7905407 w 12192001"/>
              <a:gd name="connsiteY106" fmla="*/ 2116988 h 2344739"/>
              <a:gd name="connsiteX107" fmla="*/ 7718745 w 12192001"/>
              <a:gd name="connsiteY107" fmla="*/ 2142703 h 2344739"/>
              <a:gd name="connsiteX108" fmla="*/ 7614347 w 12192001"/>
              <a:gd name="connsiteY108" fmla="*/ 2139232 h 2344739"/>
              <a:gd name="connsiteX109" fmla="*/ 7527543 w 12192001"/>
              <a:gd name="connsiteY109" fmla="*/ 2145060 h 2344739"/>
              <a:gd name="connsiteX110" fmla="*/ 7519571 w 12192001"/>
              <a:gd name="connsiteY110" fmla="*/ 2147613 h 2344739"/>
              <a:gd name="connsiteX111" fmla="*/ 7507411 w 12192001"/>
              <a:gd name="connsiteY111" fmla="*/ 2148948 h 2344739"/>
              <a:gd name="connsiteX112" fmla="*/ 7507040 w 12192001"/>
              <a:gd name="connsiteY112" fmla="*/ 2148621 h 2344739"/>
              <a:gd name="connsiteX113" fmla="*/ 7495795 w 12192001"/>
              <a:gd name="connsiteY113" fmla="*/ 2150573 h 2344739"/>
              <a:gd name="connsiteX114" fmla="*/ 7405391 w 12192001"/>
              <a:gd name="connsiteY114" fmla="*/ 2142468 h 2344739"/>
              <a:gd name="connsiteX115" fmla="*/ 7312180 w 12192001"/>
              <a:gd name="connsiteY115" fmla="*/ 2132873 h 2344739"/>
              <a:gd name="connsiteX116" fmla="*/ 7310853 w 12192001"/>
              <a:gd name="connsiteY116" fmla="*/ 2131431 h 2344739"/>
              <a:gd name="connsiteX117" fmla="*/ 7218559 w 12192001"/>
              <a:gd name="connsiteY117" fmla="*/ 2156680 h 2344739"/>
              <a:gd name="connsiteX118" fmla="*/ 7201101 w 12192001"/>
              <a:gd name="connsiteY118" fmla="*/ 2161230 h 2344739"/>
              <a:gd name="connsiteX119" fmla="*/ 7197004 w 12192001"/>
              <a:gd name="connsiteY119" fmla="*/ 2166588 h 2344739"/>
              <a:gd name="connsiteX120" fmla="*/ 7170808 w 12192001"/>
              <a:gd name="connsiteY120" fmla="*/ 2171236 h 2344739"/>
              <a:gd name="connsiteX121" fmla="*/ 7096988 w 12192001"/>
              <a:gd name="connsiteY121" fmla="*/ 2183464 h 2344739"/>
              <a:gd name="connsiteX122" fmla="*/ 7018496 w 12192001"/>
              <a:gd name="connsiteY122" fmla="*/ 2183090 h 2344739"/>
              <a:gd name="connsiteX123" fmla="*/ 6904146 w 12192001"/>
              <a:gd name="connsiteY123" fmla="*/ 2212596 h 2344739"/>
              <a:gd name="connsiteX124" fmla="*/ 6708222 w 12192001"/>
              <a:gd name="connsiteY124" fmla="*/ 2240551 h 2344739"/>
              <a:gd name="connsiteX125" fmla="*/ 6549454 w 12192001"/>
              <a:gd name="connsiteY125" fmla="*/ 2269327 h 2344739"/>
              <a:gd name="connsiteX126" fmla="*/ 6317560 w 12192001"/>
              <a:gd name="connsiteY126" fmla="*/ 2316127 h 2344739"/>
              <a:gd name="connsiteX127" fmla="*/ 6168674 w 12192001"/>
              <a:gd name="connsiteY127" fmla="*/ 2318214 h 2344739"/>
              <a:gd name="connsiteX128" fmla="*/ 6073848 w 12192001"/>
              <a:gd name="connsiteY128" fmla="*/ 2338676 h 2344739"/>
              <a:gd name="connsiteX129" fmla="*/ 6068529 w 12192001"/>
              <a:gd name="connsiteY129" fmla="*/ 2337139 h 2344739"/>
              <a:gd name="connsiteX130" fmla="*/ 6048638 w 12192001"/>
              <a:gd name="connsiteY130" fmla="*/ 2337822 h 2344739"/>
              <a:gd name="connsiteX131" fmla="*/ 6041285 w 12192001"/>
              <a:gd name="connsiteY131" fmla="*/ 2329473 h 2344739"/>
              <a:gd name="connsiteX132" fmla="*/ 6010090 w 12192001"/>
              <a:gd name="connsiteY132" fmla="*/ 2324380 h 2344739"/>
              <a:gd name="connsiteX133" fmla="*/ 5957375 w 12192001"/>
              <a:gd name="connsiteY133" fmla="*/ 2328024 h 2344739"/>
              <a:gd name="connsiteX134" fmla="*/ 5758919 w 12192001"/>
              <a:gd name="connsiteY134" fmla="*/ 2343716 h 2344739"/>
              <a:gd name="connsiteX135" fmla="*/ 5626960 w 12192001"/>
              <a:gd name="connsiteY135" fmla="*/ 2344739 h 2344739"/>
              <a:gd name="connsiteX136" fmla="*/ 5470906 w 12192001"/>
              <a:gd name="connsiteY136" fmla="*/ 2330719 h 2344739"/>
              <a:gd name="connsiteX137" fmla="*/ 5432761 w 12192001"/>
              <a:gd name="connsiteY137" fmla="*/ 2319466 h 2344739"/>
              <a:gd name="connsiteX138" fmla="*/ 5381669 w 12192001"/>
              <a:gd name="connsiteY138" fmla="*/ 2301764 h 2344739"/>
              <a:gd name="connsiteX139" fmla="*/ 5261764 w 12192001"/>
              <a:gd name="connsiteY139" fmla="*/ 2281347 h 2344739"/>
              <a:gd name="connsiteX140" fmla="*/ 5222961 w 12192001"/>
              <a:gd name="connsiteY140" fmla="*/ 2270223 h 2344739"/>
              <a:gd name="connsiteX141" fmla="*/ 5174660 w 12192001"/>
              <a:gd name="connsiteY141" fmla="*/ 2267233 h 2344739"/>
              <a:gd name="connsiteX142" fmla="*/ 5156554 w 12192001"/>
              <a:gd name="connsiteY142" fmla="*/ 2260010 h 2344739"/>
              <a:gd name="connsiteX143" fmla="*/ 5142599 w 12192001"/>
              <a:gd name="connsiteY143" fmla="*/ 2256610 h 2344739"/>
              <a:gd name="connsiteX144" fmla="*/ 5139596 w 12192001"/>
              <a:gd name="connsiteY144" fmla="*/ 2254509 h 2344739"/>
              <a:gd name="connsiteX145" fmla="*/ 5121659 w 12192001"/>
              <a:gd name="connsiteY145" fmla="*/ 2243656 h 2344739"/>
              <a:gd name="connsiteX146" fmla="*/ 5065790 w 12192001"/>
              <a:gd name="connsiteY146" fmla="*/ 2250227 h 2344739"/>
              <a:gd name="connsiteX147" fmla="*/ 5011514 w 12192001"/>
              <a:gd name="connsiteY147" fmla="*/ 2233846 h 2344739"/>
              <a:gd name="connsiteX148" fmla="*/ 4840441 w 12192001"/>
              <a:gd name="connsiteY148" fmla="*/ 2209829 h 2344739"/>
              <a:gd name="connsiteX149" fmla="*/ 4762447 w 12192001"/>
              <a:gd name="connsiteY149" fmla="*/ 2182061 h 2344739"/>
              <a:gd name="connsiteX150" fmla="*/ 4723186 w 12192001"/>
              <a:gd name="connsiteY150" fmla="*/ 2173047 h 2344739"/>
              <a:gd name="connsiteX151" fmla="*/ 4721176 w 12192001"/>
              <a:gd name="connsiteY151" fmla="*/ 2172298 h 2344739"/>
              <a:gd name="connsiteX152" fmla="*/ 4722111 w 12192001"/>
              <a:gd name="connsiteY152" fmla="*/ 2172087 h 2344739"/>
              <a:gd name="connsiteX153" fmla="*/ 4717202 w 12192001"/>
              <a:gd name="connsiteY153" fmla="*/ 2170817 h 2344739"/>
              <a:gd name="connsiteX154" fmla="*/ 4721176 w 12192001"/>
              <a:gd name="connsiteY154" fmla="*/ 2172298 h 2344739"/>
              <a:gd name="connsiteX155" fmla="*/ 4715526 w 12192001"/>
              <a:gd name="connsiteY155" fmla="*/ 2173573 h 2344739"/>
              <a:gd name="connsiteX156" fmla="*/ 4515814 w 12192001"/>
              <a:gd name="connsiteY156" fmla="*/ 2163671 h 2344739"/>
              <a:gd name="connsiteX157" fmla="*/ 4428543 w 12192001"/>
              <a:gd name="connsiteY157" fmla="*/ 2153020 h 2344739"/>
              <a:gd name="connsiteX158" fmla="*/ 4362875 w 12192001"/>
              <a:gd name="connsiteY158" fmla="*/ 2151674 h 2344739"/>
              <a:gd name="connsiteX159" fmla="*/ 4316966 w 12192001"/>
              <a:gd name="connsiteY159" fmla="*/ 2158289 h 2344739"/>
              <a:gd name="connsiteX160" fmla="*/ 4315110 w 12192001"/>
              <a:gd name="connsiteY160" fmla="*/ 2156948 h 2344739"/>
              <a:gd name="connsiteX161" fmla="*/ 4295144 w 12192001"/>
              <a:gd name="connsiteY161" fmla="*/ 2155069 h 2344739"/>
              <a:gd name="connsiteX162" fmla="*/ 4290064 w 12192001"/>
              <a:gd name="connsiteY162" fmla="*/ 2157986 h 2344739"/>
              <a:gd name="connsiteX163" fmla="*/ 4276142 w 12192001"/>
              <a:gd name="connsiteY163" fmla="*/ 2157740 h 2344739"/>
              <a:gd name="connsiteX164" fmla="*/ 4248117 w 12192001"/>
              <a:gd name="connsiteY164" fmla="*/ 2160064 h 2344739"/>
              <a:gd name="connsiteX165" fmla="*/ 4202051 w 12192001"/>
              <a:gd name="connsiteY165" fmla="*/ 2157269 h 2344739"/>
              <a:gd name="connsiteX166" fmla="*/ 4201745 w 12192001"/>
              <a:gd name="connsiteY166" fmla="*/ 2156010 h 2344739"/>
              <a:gd name="connsiteX167" fmla="*/ 4191248 w 12192001"/>
              <a:gd name="connsiteY167" fmla="*/ 2150376 h 2344739"/>
              <a:gd name="connsiteX168" fmla="*/ 4142745 w 12192001"/>
              <a:gd name="connsiteY168" fmla="*/ 2134511 h 2344739"/>
              <a:gd name="connsiteX169" fmla="*/ 4083097 w 12192001"/>
              <a:gd name="connsiteY169" fmla="*/ 2107978 h 2344739"/>
              <a:gd name="connsiteX170" fmla="*/ 4074546 w 12192001"/>
              <a:gd name="connsiteY170" fmla="*/ 2107143 h 2344739"/>
              <a:gd name="connsiteX171" fmla="*/ 4074427 w 12192001"/>
              <a:gd name="connsiteY171" fmla="*/ 2106844 h 2344739"/>
              <a:gd name="connsiteX172" fmla="*/ 4065510 w 12192001"/>
              <a:gd name="connsiteY172" fmla="*/ 2105400 h 2344739"/>
              <a:gd name="connsiteX173" fmla="*/ 4058954 w 12192001"/>
              <a:gd name="connsiteY173" fmla="*/ 2105618 h 2344739"/>
              <a:gd name="connsiteX174" fmla="*/ 4042364 w 12192001"/>
              <a:gd name="connsiteY174" fmla="*/ 2103997 h 2344739"/>
              <a:gd name="connsiteX175" fmla="*/ 4036997 w 12192001"/>
              <a:gd name="connsiteY175" fmla="*/ 2101563 h 2344739"/>
              <a:gd name="connsiteX176" fmla="*/ 4035363 w 12192001"/>
              <a:gd name="connsiteY176" fmla="*/ 2097896 h 2344739"/>
              <a:gd name="connsiteX177" fmla="*/ 4033778 w 12192001"/>
              <a:gd name="connsiteY177" fmla="*/ 2098131 h 2344739"/>
              <a:gd name="connsiteX178" fmla="*/ 4004538 w 12192001"/>
              <a:gd name="connsiteY178" fmla="*/ 2085563 h 2344739"/>
              <a:gd name="connsiteX179" fmla="*/ 3936846 w 12192001"/>
              <a:gd name="connsiteY179" fmla="*/ 2068106 h 2344739"/>
              <a:gd name="connsiteX180" fmla="*/ 3897275 w 12192001"/>
              <a:gd name="connsiteY180" fmla="*/ 2062451 h 2344739"/>
              <a:gd name="connsiteX181" fmla="*/ 3789760 w 12192001"/>
              <a:gd name="connsiteY181" fmla="*/ 2042213 h 2344739"/>
              <a:gd name="connsiteX182" fmla="*/ 3682513 w 12192001"/>
              <a:gd name="connsiteY182" fmla="*/ 2018290 h 2344739"/>
              <a:gd name="connsiteX183" fmla="*/ 3610035 w 12192001"/>
              <a:gd name="connsiteY183" fmla="*/ 1986019 h 2344739"/>
              <a:gd name="connsiteX184" fmla="*/ 3603855 w 12192001"/>
              <a:gd name="connsiteY184" fmla="*/ 1987381 h 2344739"/>
              <a:gd name="connsiteX185" fmla="*/ 3594736 w 12192001"/>
              <a:gd name="connsiteY185" fmla="*/ 1987545 h 2344739"/>
              <a:gd name="connsiteX186" fmla="*/ 3594501 w 12192001"/>
              <a:gd name="connsiteY186" fmla="*/ 1987276 h 2344739"/>
              <a:gd name="connsiteX187" fmla="*/ 3585978 w 12192001"/>
              <a:gd name="connsiteY187" fmla="*/ 1987966 h 2344739"/>
              <a:gd name="connsiteX188" fmla="*/ 3536135 w 12192001"/>
              <a:gd name="connsiteY188" fmla="*/ 1978267 h 2344739"/>
              <a:gd name="connsiteX189" fmla="*/ 3473223 w 12192001"/>
              <a:gd name="connsiteY189" fmla="*/ 1974606 h 2344739"/>
              <a:gd name="connsiteX190" fmla="*/ 3400728 w 12192001"/>
              <a:gd name="connsiteY190" fmla="*/ 1962558 h 2344739"/>
              <a:gd name="connsiteX191" fmla="*/ 3363888 w 12192001"/>
              <a:gd name="connsiteY191" fmla="*/ 1979510 h 2344739"/>
              <a:gd name="connsiteX192" fmla="*/ 3344026 w 12192001"/>
              <a:gd name="connsiteY192" fmla="*/ 1981192 h 2344739"/>
              <a:gd name="connsiteX193" fmla="*/ 3341698 w 12192001"/>
              <a:gd name="connsiteY193" fmla="*/ 1980217 h 2344739"/>
              <a:gd name="connsiteX194" fmla="*/ 3262356 w 12192001"/>
              <a:gd name="connsiteY194" fmla="*/ 1986094 h 2344739"/>
              <a:gd name="connsiteX195" fmla="*/ 3142556 w 12192001"/>
              <a:gd name="connsiteY195" fmla="*/ 1993869 h 2344739"/>
              <a:gd name="connsiteX196" fmla="*/ 3030291 w 12192001"/>
              <a:gd name="connsiteY196" fmla="*/ 1996512 h 2344739"/>
              <a:gd name="connsiteX197" fmla="*/ 2781569 w 12192001"/>
              <a:gd name="connsiteY197" fmla="*/ 2018333 h 2344739"/>
              <a:gd name="connsiteX198" fmla="*/ 2646527 w 12192001"/>
              <a:gd name="connsiteY198" fmla="*/ 2028869 h 2344739"/>
              <a:gd name="connsiteX199" fmla="*/ 2568028 w 12192001"/>
              <a:gd name="connsiteY199" fmla="*/ 2002628 h 2344739"/>
              <a:gd name="connsiteX200" fmla="*/ 2443255 w 12192001"/>
              <a:gd name="connsiteY200" fmla="*/ 2016529 h 2344739"/>
              <a:gd name="connsiteX201" fmla="*/ 2315112 w 12192001"/>
              <a:gd name="connsiteY201" fmla="*/ 2024996 h 2344739"/>
              <a:gd name="connsiteX202" fmla="*/ 2208578 w 12192001"/>
              <a:gd name="connsiteY202" fmla="*/ 2019763 h 2344739"/>
              <a:gd name="connsiteX203" fmla="*/ 2094665 w 12192001"/>
              <a:gd name="connsiteY203" fmla="*/ 2003052 h 2344739"/>
              <a:gd name="connsiteX204" fmla="*/ 1997356 w 12192001"/>
              <a:gd name="connsiteY204" fmla="*/ 1995032 h 2344739"/>
              <a:gd name="connsiteX205" fmla="*/ 1928172 w 12192001"/>
              <a:gd name="connsiteY205" fmla="*/ 2016977 h 2344739"/>
              <a:gd name="connsiteX206" fmla="*/ 1921650 w 12192001"/>
              <a:gd name="connsiteY206" fmla="*/ 2012146 h 2344739"/>
              <a:gd name="connsiteX207" fmla="*/ 1873080 w 12192001"/>
              <a:gd name="connsiteY207" fmla="*/ 2013741 h 2344739"/>
              <a:gd name="connsiteX208" fmla="*/ 1786655 w 12192001"/>
              <a:gd name="connsiteY208" fmla="*/ 2041363 h 2344739"/>
              <a:gd name="connsiteX209" fmla="*/ 1738204 w 12192001"/>
              <a:gd name="connsiteY209" fmla="*/ 2036312 h 2344739"/>
              <a:gd name="connsiteX210" fmla="*/ 1675071 w 12192001"/>
              <a:gd name="connsiteY210" fmla="*/ 2019963 h 2344739"/>
              <a:gd name="connsiteX211" fmla="*/ 1608669 w 12192001"/>
              <a:gd name="connsiteY211" fmla="*/ 2013066 h 2344739"/>
              <a:gd name="connsiteX212" fmla="*/ 1496110 w 12192001"/>
              <a:gd name="connsiteY212" fmla="*/ 1987476 h 2344739"/>
              <a:gd name="connsiteX213" fmla="*/ 1149979 w 12192001"/>
              <a:gd name="connsiteY213" fmla="*/ 1938041 h 2344739"/>
              <a:gd name="connsiteX214" fmla="*/ 858269 w 12192001"/>
              <a:gd name="connsiteY214" fmla="*/ 1928608 h 2344739"/>
              <a:gd name="connsiteX215" fmla="*/ 837540 w 12192001"/>
              <a:gd name="connsiteY215" fmla="*/ 1929821 h 2344739"/>
              <a:gd name="connsiteX216" fmla="*/ 816809 w 12192001"/>
              <a:gd name="connsiteY216" fmla="*/ 1927857 h 2344739"/>
              <a:gd name="connsiteX217" fmla="*/ 811506 w 12192001"/>
              <a:gd name="connsiteY217" fmla="*/ 1930751 h 2344739"/>
              <a:gd name="connsiteX218" fmla="*/ 797041 w 12192001"/>
              <a:gd name="connsiteY218" fmla="*/ 1930446 h 2344739"/>
              <a:gd name="connsiteX219" fmla="*/ 767901 w 12192001"/>
              <a:gd name="connsiteY219" fmla="*/ 1932653 h 2344739"/>
              <a:gd name="connsiteX220" fmla="*/ 763053 w 12192001"/>
              <a:gd name="connsiteY220" fmla="*/ 1930432 h 2344739"/>
              <a:gd name="connsiteX221" fmla="*/ 720047 w 12192001"/>
              <a:gd name="connsiteY221" fmla="*/ 1929661 h 2344739"/>
              <a:gd name="connsiteX222" fmla="*/ 719742 w 12192001"/>
              <a:gd name="connsiteY222" fmla="*/ 1928399 h 2344739"/>
              <a:gd name="connsiteX223" fmla="*/ 708875 w 12192001"/>
              <a:gd name="connsiteY223" fmla="*/ 1922722 h 2344739"/>
              <a:gd name="connsiteX224" fmla="*/ 596792 w 12192001"/>
              <a:gd name="connsiteY224" fmla="*/ 1879864 h 2344739"/>
              <a:gd name="connsiteX225" fmla="*/ 578535 w 12192001"/>
              <a:gd name="connsiteY225" fmla="*/ 1877212 h 2344739"/>
              <a:gd name="connsiteX226" fmla="*/ 571717 w 12192001"/>
              <a:gd name="connsiteY226" fmla="*/ 1877401 h 2344739"/>
              <a:gd name="connsiteX227" fmla="*/ 445099 w 12192001"/>
              <a:gd name="connsiteY227" fmla="*/ 1839371 h 2344739"/>
              <a:gd name="connsiteX228" fmla="*/ 404015 w 12192001"/>
              <a:gd name="connsiteY228" fmla="*/ 1833548 h 2344739"/>
              <a:gd name="connsiteX229" fmla="*/ 292435 w 12192001"/>
              <a:gd name="connsiteY229" fmla="*/ 1812852 h 2344739"/>
              <a:gd name="connsiteX230" fmla="*/ 118381 w 12192001"/>
              <a:gd name="connsiteY230" fmla="*/ 1761047 h 2344739"/>
              <a:gd name="connsiteX231" fmla="*/ 15526 w 12192001"/>
              <a:gd name="connsiteY231" fmla="*/ 1758191 h 2344739"/>
              <a:gd name="connsiteX232" fmla="*/ 2 w 12192001"/>
              <a:gd name="connsiteY232" fmla="*/ 1752722 h 2344739"/>
              <a:gd name="connsiteX233" fmla="*/ 1 w 12192001"/>
              <a:gd name="connsiteY233" fmla="*/ 762497 h 2344739"/>
              <a:gd name="connsiteX234" fmla="*/ 0 w 12192001"/>
              <a:gd name="connsiteY234" fmla="*/ 762497 h 2344739"/>
              <a:gd name="connsiteX235" fmla="*/ 0 w 12192001"/>
              <a:gd name="connsiteY235" fmla="*/ 222213 h 2344739"/>
              <a:gd name="connsiteX236" fmla="*/ 0 w 12192001"/>
              <a:gd name="connsiteY236"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57107 w 12192001"/>
              <a:gd name="connsiteY22" fmla="*/ 792050 h 2344739"/>
              <a:gd name="connsiteX23" fmla="*/ 11748619 w 12192001"/>
              <a:gd name="connsiteY23" fmla="*/ 872002 h 2344739"/>
              <a:gd name="connsiteX24" fmla="*/ 11595155 w 12192001"/>
              <a:gd name="connsiteY24" fmla="*/ 918898 h 2344739"/>
              <a:gd name="connsiteX25" fmla="*/ 11306392 w 12192001"/>
              <a:gd name="connsiteY25" fmla="*/ 1272239 h 2344739"/>
              <a:gd name="connsiteX26" fmla="*/ 11309326 w 12192001"/>
              <a:gd name="connsiteY26" fmla="*/ 1274846 h 2344739"/>
              <a:gd name="connsiteX27" fmla="*/ 11294224 w 12192001"/>
              <a:gd name="connsiteY27" fmla="*/ 1283683 h 2344739"/>
              <a:gd name="connsiteX28" fmla="*/ 11245526 w 12192001"/>
              <a:gd name="connsiteY28" fmla="*/ 1274060 h 2344739"/>
              <a:gd name="connsiteX29" fmla="*/ 11227161 w 12192001"/>
              <a:gd name="connsiteY29" fmla="*/ 1276236 h 2344739"/>
              <a:gd name="connsiteX30" fmla="*/ 11216939 w 12192001"/>
              <a:gd name="connsiteY30" fmla="*/ 1275961 h 2344739"/>
              <a:gd name="connsiteX31" fmla="*/ 11216036 w 12192001"/>
              <a:gd name="connsiteY31" fmla="*/ 1275018 h 2344739"/>
              <a:gd name="connsiteX32" fmla="*/ 11187737 w 12192001"/>
              <a:gd name="connsiteY32" fmla="*/ 1292383 h 2344739"/>
              <a:gd name="connsiteX33" fmla="*/ 11183353 w 12192001"/>
              <a:gd name="connsiteY33" fmla="*/ 1292525 h 2344739"/>
              <a:gd name="connsiteX34" fmla="*/ 11165706 w 12192001"/>
              <a:gd name="connsiteY34" fmla="*/ 1306612 h 2344739"/>
              <a:gd name="connsiteX35" fmla="*/ 11156163 w 12192001"/>
              <a:gd name="connsiteY35" fmla="*/ 1312414 h 2344739"/>
              <a:gd name="connsiteX36" fmla="*/ 11154348 w 12192001"/>
              <a:gd name="connsiteY36" fmla="*/ 1317097 h 2344739"/>
              <a:gd name="connsiteX37" fmla="*/ 11139813 w 12192001"/>
              <a:gd name="connsiteY37" fmla="*/ 1324115 h 2344739"/>
              <a:gd name="connsiteX38" fmla="*/ 11137813 w 12192001"/>
              <a:gd name="connsiteY38" fmla="*/ 1323772 h 2344739"/>
              <a:gd name="connsiteX39" fmla="*/ 11127060 w 12192001"/>
              <a:gd name="connsiteY39" fmla="*/ 1333832 h 2344739"/>
              <a:gd name="connsiteX40" fmla="*/ 11119543 w 12192001"/>
              <a:gd name="connsiteY40" fmla="*/ 1347424 h 2344739"/>
              <a:gd name="connsiteX41" fmla="*/ 10893535 w 12192001"/>
              <a:gd name="connsiteY41" fmla="*/ 1473399 h 2344739"/>
              <a:gd name="connsiteX42" fmla="*/ 10772152 w 12192001"/>
              <a:gd name="connsiteY42" fmla="*/ 1523191 h 2344739"/>
              <a:gd name="connsiteX43" fmla="*/ 10626520 w 12192001"/>
              <a:gd name="connsiteY43" fmla="*/ 1559229 h 2344739"/>
              <a:gd name="connsiteX44" fmla="*/ 10580747 w 12192001"/>
              <a:gd name="connsiteY44" fmla="*/ 1568689 h 2344739"/>
              <a:gd name="connsiteX45" fmla="*/ 10546642 w 12192001"/>
              <a:gd name="connsiteY45" fmla="*/ 1598423 h 2344739"/>
              <a:gd name="connsiteX46" fmla="*/ 10528495 w 12192001"/>
              <a:gd name="connsiteY46" fmla="*/ 1596907 h 2344739"/>
              <a:gd name="connsiteX47" fmla="*/ 10525298 w 12192001"/>
              <a:gd name="connsiteY47" fmla="*/ 1596411 h 2344739"/>
              <a:gd name="connsiteX48" fmla="*/ 10513981 w 12192001"/>
              <a:gd name="connsiteY48" fmla="*/ 1599537 h 2344739"/>
              <a:gd name="connsiteX49" fmla="*/ 10490587 w 12192001"/>
              <a:gd name="connsiteY49" fmla="*/ 1594156 h 2344739"/>
              <a:gd name="connsiteX50" fmla="*/ 10470270 w 12192001"/>
              <a:gd name="connsiteY50" fmla="*/ 1601693 h 2344739"/>
              <a:gd name="connsiteX51" fmla="*/ 10375894 w 12192001"/>
              <a:gd name="connsiteY51" fmla="*/ 1644598 h 2344739"/>
              <a:gd name="connsiteX52" fmla="*/ 10318190 w 12192001"/>
              <a:gd name="connsiteY52" fmla="*/ 1666221 h 2344739"/>
              <a:gd name="connsiteX53" fmla="*/ 10294319 w 12192001"/>
              <a:gd name="connsiteY53" fmla="*/ 1668079 h 2344739"/>
              <a:gd name="connsiteX54" fmla="*/ 10262295 w 12192001"/>
              <a:gd name="connsiteY54" fmla="*/ 1674948 h 2344739"/>
              <a:gd name="connsiteX55" fmla="*/ 10204270 w 12192001"/>
              <a:gd name="connsiteY55" fmla="*/ 1682149 h 2344739"/>
              <a:gd name="connsiteX56" fmla="*/ 10176611 w 12192001"/>
              <a:gd name="connsiteY56" fmla="*/ 1692943 h 2344739"/>
              <a:gd name="connsiteX57" fmla="*/ 10163922 w 12192001"/>
              <a:gd name="connsiteY57" fmla="*/ 1693739 h 2344739"/>
              <a:gd name="connsiteX58" fmla="*/ 10155160 w 12192001"/>
              <a:gd name="connsiteY58" fmla="*/ 1707487 h 2344739"/>
              <a:gd name="connsiteX59" fmla="*/ 10117119 w 12192001"/>
              <a:gd name="connsiteY59" fmla="*/ 1731142 h 2344739"/>
              <a:gd name="connsiteX60" fmla="*/ 10100445 w 12192001"/>
              <a:gd name="connsiteY60" fmla="*/ 1742432 h 2344739"/>
              <a:gd name="connsiteX61" fmla="*/ 10082169 w 12192001"/>
              <a:gd name="connsiteY61" fmla="*/ 1743296 h 2344739"/>
              <a:gd name="connsiteX62" fmla="*/ 10039240 w 12192001"/>
              <a:gd name="connsiteY62" fmla="*/ 1741632 h 2344739"/>
              <a:gd name="connsiteX63" fmla="*/ 9960019 w 12192001"/>
              <a:gd name="connsiteY63" fmla="*/ 1757147 h 2344739"/>
              <a:gd name="connsiteX64" fmla="*/ 9847792 w 12192001"/>
              <a:gd name="connsiteY64" fmla="*/ 1763915 h 2344739"/>
              <a:gd name="connsiteX65" fmla="*/ 9728309 w 12192001"/>
              <a:gd name="connsiteY65" fmla="*/ 1784122 h 2344739"/>
              <a:gd name="connsiteX66" fmla="*/ 9584507 w 12192001"/>
              <a:gd name="connsiteY66" fmla="*/ 1795542 h 2344739"/>
              <a:gd name="connsiteX67" fmla="*/ 9343052 w 12192001"/>
              <a:gd name="connsiteY67" fmla="*/ 1841244 h 2344739"/>
              <a:gd name="connsiteX68" fmla="*/ 9231370 w 12192001"/>
              <a:gd name="connsiteY68" fmla="*/ 1893149 h 2344739"/>
              <a:gd name="connsiteX69" fmla="*/ 9194810 w 12192001"/>
              <a:gd name="connsiteY69" fmla="*/ 1903228 h 2344739"/>
              <a:gd name="connsiteX70" fmla="*/ 9189246 w 12192001"/>
              <a:gd name="connsiteY70" fmla="*/ 1912467 h 2344739"/>
              <a:gd name="connsiteX71" fmla="*/ 9151232 w 12192001"/>
              <a:gd name="connsiteY71" fmla="*/ 1923669 h 2344739"/>
              <a:gd name="connsiteX72" fmla="*/ 9150210 w 12192001"/>
              <a:gd name="connsiteY72" fmla="*/ 1922604 h 2344739"/>
              <a:gd name="connsiteX73" fmla="*/ 9137318 w 12192001"/>
              <a:gd name="connsiteY73" fmla="*/ 1920435 h 2344739"/>
              <a:gd name="connsiteX74" fmla="*/ 9113812 w 12192001"/>
              <a:gd name="connsiteY74" fmla="*/ 1919069 h 2344739"/>
              <a:gd name="connsiteX75" fmla="*/ 9053453 w 12192001"/>
              <a:gd name="connsiteY75" fmla="*/ 1910755 h 2344739"/>
              <a:gd name="connsiteX76" fmla="*/ 9005486 w 12192001"/>
              <a:gd name="connsiteY76" fmla="*/ 1914040 h 2344739"/>
              <a:gd name="connsiteX77" fmla="*/ 9005201 w 12192001"/>
              <a:gd name="connsiteY77" fmla="*/ 1913800 h 2344739"/>
              <a:gd name="connsiteX78" fmla="*/ 8996232 w 12192001"/>
              <a:gd name="connsiteY78" fmla="*/ 1915011 h 2344739"/>
              <a:gd name="connsiteX79" fmla="*/ 8990394 w 12192001"/>
              <a:gd name="connsiteY79" fmla="*/ 1917072 h 2344739"/>
              <a:gd name="connsiteX80" fmla="*/ 8974337 w 12192001"/>
              <a:gd name="connsiteY80" fmla="*/ 1920298 h 2344739"/>
              <a:gd name="connsiteX81" fmla="*/ 8968011 w 12192001"/>
              <a:gd name="connsiteY81" fmla="*/ 1919598 h 2344739"/>
              <a:gd name="connsiteX82" fmla="*/ 8963048 w 12192001"/>
              <a:gd name="connsiteY82" fmla="*/ 1917373 h 2344739"/>
              <a:gd name="connsiteX83" fmla="*/ 8928988 w 12192001"/>
              <a:gd name="connsiteY83" fmla="*/ 1914185 h 2344739"/>
              <a:gd name="connsiteX84" fmla="*/ 8752444 w 12192001"/>
              <a:gd name="connsiteY84" fmla="*/ 1933417 h 2344739"/>
              <a:gd name="connsiteX85" fmla="*/ 8707847 w 12192001"/>
              <a:gd name="connsiteY85" fmla="*/ 1935518 h 2344739"/>
              <a:gd name="connsiteX86" fmla="*/ 8596071 w 12192001"/>
              <a:gd name="connsiteY86" fmla="*/ 1944090 h 2344739"/>
              <a:gd name="connsiteX87" fmla="*/ 8525230 w 12192001"/>
              <a:gd name="connsiteY87" fmla="*/ 1929248 h 2344739"/>
              <a:gd name="connsiteX88" fmla="*/ 8510983 w 12192001"/>
              <a:gd name="connsiteY88" fmla="*/ 1935163 h 2344739"/>
              <a:gd name="connsiteX89" fmla="*/ 8506167 w 12192001"/>
              <a:gd name="connsiteY89" fmla="*/ 1938164 h 2344739"/>
              <a:gd name="connsiteX90" fmla="*/ 8497968 w 12192001"/>
              <a:gd name="connsiteY90" fmla="*/ 1940902 h 2344739"/>
              <a:gd name="connsiteX91" fmla="*/ 8497594 w 12192001"/>
              <a:gd name="connsiteY91" fmla="*/ 1940723 h 2344739"/>
              <a:gd name="connsiteX92" fmla="*/ 8490249 w 12192001"/>
              <a:gd name="connsiteY92" fmla="*/ 1943773 h 2344739"/>
              <a:gd name="connsiteX93" fmla="*/ 8367182 w 12192001"/>
              <a:gd name="connsiteY93" fmla="*/ 1957815 h 2344739"/>
              <a:gd name="connsiteX94" fmla="*/ 8353799 w 12192001"/>
              <a:gd name="connsiteY94" fmla="*/ 1958009 h 2344739"/>
              <a:gd name="connsiteX95" fmla="*/ 8352373 w 12192001"/>
              <a:gd name="connsiteY95" fmla="*/ 1957169 h 2344739"/>
              <a:gd name="connsiteX96" fmla="*/ 8320104 w 12192001"/>
              <a:gd name="connsiteY96" fmla="*/ 1974587 h 2344739"/>
              <a:gd name="connsiteX97" fmla="*/ 8314433 w 12192001"/>
              <a:gd name="connsiteY97" fmla="*/ 1974913 h 2344739"/>
              <a:gd name="connsiteX98" fmla="*/ 8295174 w 12192001"/>
              <a:gd name="connsiteY98" fmla="*/ 1988808 h 2344739"/>
              <a:gd name="connsiteX99" fmla="*/ 8284276 w 12192001"/>
              <a:gd name="connsiteY99" fmla="*/ 1994631 h 2344739"/>
              <a:gd name="connsiteX100" fmla="*/ 8283150 w 12192001"/>
              <a:gd name="connsiteY100" fmla="*/ 1999074 h 2344739"/>
              <a:gd name="connsiteX101" fmla="*/ 8266076 w 12192001"/>
              <a:gd name="connsiteY101" fmla="*/ 2006249 h 2344739"/>
              <a:gd name="connsiteX102" fmla="*/ 8263377 w 12192001"/>
              <a:gd name="connsiteY102" fmla="*/ 2006019 h 2344739"/>
              <a:gd name="connsiteX103" fmla="*/ 8252033 w 12192001"/>
              <a:gd name="connsiteY103" fmla="*/ 2015862 h 2344739"/>
              <a:gd name="connsiteX104" fmla="*/ 8245834 w 12192001"/>
              <a:gd name="connsiteY104" fmla="*/ 2028854 h 2344739"/>
              <a:gd name="connsiteX105" fmla="*/ 8090272 w 12192001"/>
              <a:gd name="connsiteY105" fmla="*/ 2075015 h 2344739"/>
              <a:gd name="connsiteX106" fmla="*/ 7905407 w 12192001"/>
              <a:gd name="connsiteY106" fmla="*/ 2116988 h 2344739"/>
              <a:gd name="connsiteX107" fmla="*/ 7718745 w 12192001"/>
              <a:gd name="connsiteY107" fmla="*/ 2142703 h 2344739"/>
              <a:gd name="connsiteX108" fmla="*/ 7614347 w 12192001"/>
              <a:gd name="connsiteY108" fmla="*/ 2139232 h 2344739"/>
              <a:gd name="connsiteX109" fmla="*/ 7527543 w 12192001"/>
              <a:gd name="connsiteY109" fmla="*/ 2145060 h 2344739"/>
              <a:gd name="connsiteX110" fmla="*/ 7519571 w 12192001"/>
              <a:gd name="connsiteY110" fmla="*/ 2147613 h 2344739"/>
              <a:gd name="connsiteX111" fmla="*/ 7507411 w 12192001"/>
              <a:gd name="connsiteY111" fmla="*/ 2148948 h 2344739"/>
              <a:gd name="connsiteX112" fmla="*/ 7507040 w 12192001"/>
              <a:gd name="connsiteY112" fmla="*/ 2148621 h 2344739"/>
              <a:gd name="connsiteX113" fmla="*/ 7495795 w 12192001"/>
              <a:gd name="connsiteY113" fmla="*/ 2150573 h 2344739"/>
              <a:gd name="connsiteX114" fmla="*/ 7405391 w 12192001"/>
              <a:gd name="connsiteY114" fmla="*/ 2142468 h 2344739"/>
              <a:gd name="connsiteX115" fmla="*/ 7312180 w 12192001"/>
              <a:gd name="connsiteY115" fmla="*/ 2132873 h 2344739"/>
              <a:gd name="connsiteX116" fmla="*/ 7310853 w 12192001"/>
              <a:gd name="connsiteY116" fmla="*/ 2131431 h 2344739"/>
              <a:gd name="connsiteX117" fmla="*/ 7218559 w 12192001"/>
              <a:gd name="connsiteY117" fmla="*/ 2156680 h 2344739"/>
              <a:gd name="connsiteX118" fmla="*/ 7201101 w 12192001"/>
              <a:gd name="connsiteY118" fmla="*/ 2161230 h 2344739"/>
              <a:gd name="connsiteX119" fmla="*/ 7197004 w 12192001"/>
              <a:gd name="connsiteY119" fmla="*/ 2166588 h 2344739"/>
              <a:gd name="connsiteX120" fmla="*/ 7170808 w 12192001"/>
              <a:gd name="connsiteY120" fmla="*/ 2171236 h 2344739"/>
              <a:gd name="connsiteX121" fmla="*/ 7096988 w 12192001"/>
              <a:gd name="connsiteY121" fmla="*/ 2183464 h 2344739"/>
              <a:gd name="connsiteX122" fmla="*/ 7018496 w 12192001"/>
              <a:gd name="connsiteY122" fmla="*/ 2183090 h 2344739"/>
              <a:gd name="connsiteX123" fmla="*/ 6904146 w 12192001"/>
              <a:gd name="connsiteY123" fmla="*/ 2212596 h 2344739"/>
              <a:gd name="connsiteX124" fmla="*/ 6708222 w 12192001"/>
              <a:gd name="connsiteY124" fmla="*/ 2240551 h 2344739"/>
              <a:gd name="connsiteX125" fmla="*/ 6549454 w 12192001"/>
              <a:gd name="connsiteY125" fmla="*/ 2269327 h 2344739"/>
              <a:gd name="connsiteX126" fmla="*/ 6317560 w 12192001"/>
              <a:gd name="connsiteY126" fmla="*/ 2316127 h 2344739"/>
              <a:gd name="connsiteX127" fmla="*/ 6168674 w 12192001"/>
              <a:gd name="connsiteY127" fmla="*/ 2318214 h 2344739"/>
              <a:gd name="connsiteX128" fmla="*/ 6073848 w 12192001"/>
              <a:gd name="connsiteY128" fmla="*/ 2338676 h 2344739"/>
              <a:gd name="connsiteX129" fmla="*/ 6068529 w 12192001"/>
              <a:gd name="connsiteY129" fmla="*/ 2337139 h 2344739"/>
              <a:gd name="connsiteX130" fmla="*/ 6048638 w 12192001"/>
              <a:gd name="connsiteY130" fmla="*/ 2337822 h 2344739"/>
              <a:gd name="connsiteX131" fmla="*/ 6041285 w 12192001"/>
              <a:gd name="connsiteY131" fmla="*/ 2329473 h 2344739"/>
              <a:gd name="connsiteX132" fmla="*/ 6010090 w 12192001"/>
              <a:gd name="connsiteY132" fmla="*/ 2324380 h 2344739"/>
              <a:gd name="connsiteX133" fmla="*/ 5957375 w 12192001"/>
              <a:gd name="connsiteY133" fmla="*/ 2328024 h 2344739"/>
              <a:gd name="connsiteX134" fmla="*/ 5758919 w 12192001"/>
              <a:gd name="connsiteY134" fmla="*/ 2343716 h 2344739"/>
              <a:gd name="connsiteX135" fmla="*/ 5626960 w 12192001"/>
              <a:gd name="connsiteY135" fmla="*/ 2344739 h 2344739"/>
              <a:gd name="connsiteX136" fmla="*/ 5470906 w 12192001"/>
              <a:gd name="connsiteY136" fmla="*/ 2330719 h 2344739"/>
              <a:gd name="connsiteX137" fmla="*/ 5432761 w 12192001"/>
              <a:gd name="connsiteY137" fmla="*/ 2319466 h 2344739"/>
              <a:gd name="connsiteX138" fmla="*/ 5381669 w 12192001"/>
              <a:gd name="connsiteY138" fmla="*/ 2301764 h 2344739"/>
              <a:gd name="connsiteX139" fmla="*/ 5261764 w 12192001"/>
              <a:gd name="connsiteY139" fmla="*/ 2281347 h 2344739"/>
              <a:gd name="connsiteX140" fmla="*/ 5222961 w 12192001"/>
              <a:gd name="connsiteY140" fmla="*/ 2270223 h 2344739"/>
              <a:gd name="connsiteX141" fmla="*/ 5174660 w 12192001"/>
              <a:gd name="connsiteY141" fmla="*/ 2267233 h 2344739"/>
              <a:gd name="connsiteX142" fmla="*/ 5156554 w 12192001"/>
              <a:gd name="connsiteY142" fmla="*/ 2260010 h 2344739"/>
              <a:gd name="connsiteX143" fmla="*/ 5142599 w 12192001"/>
              <a:gd name="connsiteY143" fmla="*/ 2256610 h 2344739"/>
              <a:gd name="connsiteX144" fmla="*/ 5139596 w 12192001"/>
              <a:gd name="connsiteY144" fmla="*/ 2254509 h 2344739"/>
              <a:gd name="connsiteX145" fmla="*/ 5121659 w 12192001"/>
              <a:gd name="connsiteY145" fmla="*/ 2243656 h 2344739"/>
              <a:gd name="connsiteX146" fmla="*/ 5065790 w 12192001"/>
              <a:gd name="connsiteY146" fmla="*/ 2250227 h 2344739"/>
              <a:gd name="connsiteX147" fmla="*/ 5011514 w 12192001"/>
              <a:gd name="connsiteY147" fmla="*/ 2233846 h 2344739"/>
              <a:gd name="connsiteX148" fmla="*/ 4840441 w 12192001"/>
              <a:gd name="connsiteY148" fmla="*/ 2209829 h 2344739"/>
              <a:gd name="connsiteX149" fmla="*/ 4762447 w 12192001"/>
              <a:gd name="connsiteY149" fmla="*/ 2182061 h 2344739"/>
              <a:gd name="connsiteX150" fmla="*/ 4723186 w 12192001"/>
              <a:gd name="connsiteY150" fmla="*/ 2173047 h 2344739"/>
              <a:gd name="connsiteX151" fmla="*/ 4721176 w 12192001"/>
              <a:gd name="connsiteY151" fmla="*/ 2172298 h 2344739"/>
              <a:gd name="connsiteX152" fmla="*/ 4722111 w 12192001"/>
              <a:gd name="connsiteY152" fmla="*/ 2172087 h 2344739"/>
              <a:gd name="connsiteX153" fmla="*/ 4717202 w 12192001"/>
              <a:gd name="connsiteY153" fmla="*/ 2170817 h 2344739"/>
              <a:gd name="connsiteX154" fmla="*/ 4721176 w 12192001"/>
              <a:gd name="connsiteY154" fmla="*/ 2172298 h 2344739"/>
              <a:gd name="connsiteX155" fmla="*/ 4715526 w 12192001"/>
              <a:gd name="connsiteY155" fmla="*/ 2173573 h 2344739"/>
              <a:gd name="connsiteX156" fmla="*/ 4515814 w 12192001"/>
              <a:gd name="connsiteY156" fmla="*/ 2163671 h 2344739"/>
              <a:gd name="connsiteX157" fmla="*/ 4428543 w 12192001"/>
              <a:gd name="connsiteY157" fmla="*/ 2153020 h 2344739"/>
              <a:gd name="connsiteX158" fmla="*/ 4362875 w 12192001"/>
              <a:gd name="connsiteY158" fmla="*/ 2151674 h 2344739"/>
              <a:gd name="connsiteX159" fmla="*/ 4316966 w 12192001"/>
              <a:gd name="connsiteY159" fmla="*/ 2158289 h 2344739"/>
              <a:gd name="connsiteX160" fmla="*/ 4315110 w 12192001"/>
              <a:gd name="connsiteY160" fmla="*/ 2156948 h 2344739"/>
              <a:gd name="connsiteX161" fmla="*/ 4295144 w 12192001"/>
              <a:gd name="connsiteY161" fmla="*/ 2155069 h 2344739"/>
              <a:gd name="connsiteX162" fmla="*/ 4290064 w 12192001"/>
              <a:gd name="connsiteY162" fmla="*/ 2157986 h 2344739"/>
              <a:gd name="connsiteX163" fmla="*/ 4276142 w 12192001"/>
              <a:gd name="connsiteY163" fmla="*/ 2157740 h 2344739"/>
              <a:gd name="connsiteX164" fmla="*/ 4248117 w 12192001"/>
              <a:gd name="connsiteY164" fmla="*/ 2160064 h 2344739"/>
              <a:gd name="connsiteX165" fmla="*/ 4202051 w 12192001"/>
              <a:gd name="connsiteY165" fmla="*/ 2157269 h 2344739"/>
              <a:gd name="connsiteX166" fmla="*/ 4201745 w 12192001"/>
              <a:gd name="connsiteY166" fmla="*/ 2156010 h 2344739"/>
              <a:gd name="connsiteX167" fmla="*/ 4191248 w 12192001"/>
              <a:gd name="connsiteY167" fmla="*/ 2150376 h 2344739"/>
              <a:gd name="connsiteX168" fmla="*/ 4142745 w 12192001"/>
              <a:gd name="connsiteY168" fmla="*/ 2134511 h 2344739"/>
              <a:gd name="connsiteX169" fmla="*/ 4083097 w 12192001"/>
              <a:gd name="connsiteY169" fmla="*/ 2107978 h 2344739"/>
              <a:gd name="connsiteX170" fmla="*/ 4074546 w 12192001"/>
              <a:gd name="connsiteY170" fmla="*/ 2107143 h 2344739"/>
              <a:gd name="connsiteX171" fmla="*/ 4074427 w 12192001"/>
              <a:gd name="connsiteY171" fmla="*/ 2106844 h 2344739"/>
              <a:gd name="connsiteX172" fmla="*/ 4065510 w 12192001"/>
              <a:gd name="connsiteY172" fmla="*/ 2105400 h 2344739"/>
              <a:gd name="connsiteX173" fmla="*/ 4058954 w 12192001"/>
              <a:gd name="connsiteY173" fmla="*/ 2105618 h 2344739"/>
              <a:gd name="connsiteX174" fmla="*/ 4042364 w 12192001"/>
              <a:gd name="connsiteY174" fmla="*/ 2103997 h 2344739"/>
              <a:gd name="connsiteX175" fmla="*/ 4036997 w 12192001"/>
              <a:gd name="connsiteY175" fmla="*/ 2101563 h 2344739"/>
              <a:gd name="connsiteX176" fmla="*/ 4035363 w 12192001"/>
              <a:gd name="connsiteY176" fmla="*/ 2097896 h 2344739"/>
              <a:gd name="connsiteX177" fmla="*/ 4033778 w 12192001"/>
              <a:gd name="connsiteY177" fmla="*/ 2098131 h 2344739"/>
              <a:gd name="connsiteX178" fmla="*/ 4004538 w 12192001"/>
              <a:gd name="connsiteY178" fmla="*/ 2085563 h 2344739"/>
              <a:gd name="connsiteX179" fmla="*/ 3936846 w 12192001"/>
              <a:gd name="connsiteY179" fmla="*/ 2068106 h 2344739"/>
              <a:gd name="connsiteX180" fmla="*/ 3897275 w 12192001"/>
              <a:gd name="connsiteY180" fmla="*/ 2062451 h 2344739"/>
              <a:gd name="connsiteX181" fmla="*/ 3789760 w 12192001"/>
              <a:gd name="connsiteY181" fmla="*/ 2042213 h 2344739"/>
              <a:gd name="connsiteX182" fmla="*/ 3682513 w 12192001"/>
              <a:gd name="connsiteY182" fmla="*/ 2018290 h 2344739"/>
              <a:gd name="connsiteX183" fmla="*/ 3610035 w 12192001"/>
              <a:gd name="connsiteY183" fmla="*/ 1986019 h 2344739"/>
              <a:gd name="connsiteX184" fmla="*/ 3603855 w 12192001"/>
              <a:gd name="connsiteY184" fmla="*/ 1987381 h 2344739"/>
              <a:gd name="connsiteX185" fmla="*/ 3594736 w 12192001"/>
              <a:gd name="connsiteY185" fmla="*/ 1987545 h 2344739"/>
              <a:gd name="connsiteX186" fmla="*/ 3594501 w 12192001"/>
              <a:gd name="connsiteY186" fmla="*/ 1987276 h 2344739"/>
              <a:gd name="connsiteX187" fmla="*/ 3585978 w 12192001"/>
              <a:gd name="connsiteY187" fmla="*/ 1987966 h 2344739"/>
              <a:gd name="connsiteX188" fmla="*/ 3536135 w 12192001"/>
              <a:gd name="connsiteY188" fmla="*/ 1978267 h 2344739"/>
              <a:gd name="connsiteX189" fmla="*/ 3473223 w 12192001"/>
              <a:gd name="connsiteY189" fmla="*/ 1974606 h 2344739"/>
              <a:gd name="connsiteX190" fmla="*/ 3400728 w 12192001"/>
              <a:gd name="connsiteY190" fmla="*/ 1962558 h 2344739"/>
              <a:gd name="connsiteX191" fmla="*/ 3363888 w 12192001"/>
              <a:gd name="connsiteY191" fmla="*/ 1979510 h 2344739"/>
              <a:gd name="connsiteX192" fmla="*/ 3344026 w 12192001"/>
              <a:gd name="connsiteY192" fmla="*/ 1981192 h 2344739"/>
              <a:gd name="connsiteX193" fmla="*/ 3341698 w 12192001"/>
              <a:gd name="connsiteY193" fmla="*/ 1980217 h 2344739"/>
              <a:gd name="connsiteX194" fmla="*/ 3262356 w 12192001"/>
              <a:gd name="connsiteY194" fmla="*/ 1986094 h 2344739"/>
              <a:gd name="connsiteX195" fmla="*/ 3142556 w 12192001"/>
              <a:gd name="connsiteY195" fmla="*/ 1993869 h 2344739"/>
              <a:gd name="connsiteX196" fmla="*/ 3030291 w 12192001"/>
              <a:gd name="connsiteY196" fmla="*/ 1996512 h 2344739"/>
              <a:gd name="connsiteX197" fmla="*/ 2781569 w 12192001"/>
              <a:gd name="connsiteY197" fmla="*/ 2018333 h 2344739"/>
              <a:gd name="connsiteX198" fmla="*/ 2646527 w 12192001"/>
              <a:gd name="connsiteY198" fmla="*/ 2028869 h 2344739"/>
              <a:gd name="connsiteX199" fmla="*/ 2568028 w 12192001"/>
              <a:gd name="connsiteY199" fmla="*/ 2002628 h 2344739"/>
              <a:gd name="connsiteX200" fmla="*/ 2443255 w 12192001"/>
              <a:gd name="connsiteY200" fmla="*/ 2016529 h 2344739"/>
              <a:gd name="connsiteX201" fmla="*/ 2315112 w 12192001"/>
              <a:gd name="connsiteY201" fmla="*/ 2024996 h 2344739"/>
              <a:gd name="connsiteX202" fmla="*/ 2208578 w 12192001"/>
              <a:gd name="connsiteY202" fmla="*/ 2019763 h 2344739"/>
              <a:gd name="connsiteX203" fmla="*/ 2094665 w 12192001"/>
              <a:gd name="connsiteY203" fmla="*/ 2003052 h 2344739"/>
              <a:gd name="connsiteX204" fmla="*/ 1997356 w 12192001"/>
              <a:gd name="connsiteY204" fmla="*/ 1995032 h 2344739"/>
              <a:gd name="connsiteX205" fmla="*/ 1928172 w 12192001"/>
              <a:gd name="connsiteY205" fmla="*/ 2016977 h 2344739"/>
              <a:gd name="connsiteX206" fmla="*/ 1921650 w 12192001"/>
              <a:gd name="connsiteY206" fmla="*/ 2012146 h 2344739"/>
              <a:gd name="connsiteX207" fmla="*/ 1873080 w 12192001"/>
              <a:gd name="connsiteY207" fmla="*/ 2013741 h 2344739"/>
              <a:gd name="connsiteX208" fmla="*/ 1786655 w 12192001"/>
              <a:gd name="connsiteY208" fmla="*/ 2041363 h 2344739"/>
              <a:gd name="connsiteX209" fmla="*/ 1738204 w 12192001"/>
              <a:gd name="connsiteY209" fmla="*/ 2036312 h 2344739"/>
              <a:gd name="connsiteX210" fmla="*/ 1675071 w 12192001"/>
              <a:gd name="connsiteY210" fmla="*/ 2019963 h 2344739"/>
              <a:gd name="connsiteX211" fmla="*/ 1608669 w 12192001"/>
              <a:gd name="connsiteY211" fmla="*/ 2013066 h 2344739"/>
              <a:gd name="connsiteX212" fmla="*/ 1496110 w 12192001"/>
              <a:gd name="connsiteY212" fmla="*/ 1987476 h 2344739"/>
              <a:gd name="connsiteX213" fmla="*/ 1149979 w 12192001"/>
              <a:gd name="connsiteY213" fmla="*/ 1938041 h 2344739"/>
              <a:gd name="connsiteX214" fmla="*/ 858269 w 12192001"/>
              <a:gd name="connsiteY214" fmla="*/ 1928608 h 2344739"/>
              <a:gd name="connsiteX215" fmla="*/ 837540 w 12192001"/>
              <a:gd name="connsiteY215" fmla="*/ 1929821 h 2344739"/>
              <a:gd name="connsiteX216" fmla="*/ 816809 w 12192001"/>
              <a:gd name="connsiteY216" fmla="*/ 1927857 h 2344739"/>
              <a:gd name="connsiteX217" fmla="*/ 811506 w 12192001"/>
              <a:gd name="connsiteY217" fmla="*/ 1930751 h 2344739"/>
              <a:gd name="connsiteX218" fmla="*/ 797041 w 12192001"/>
              <a:gd name="connsiteY218" fmla="*/ 1930446 h 2344739"/>
              <a:gd name="connsiteX219" fmla="*/ 767901 w 12192001"/>
              <a:gd name="connsiteY219" fmla="*/ 1932653 h 2344739"/>
              <a:gd name="connsiteX220" fmla="*/ 763053 w 12192001"/>
              <a:gd name="connsiteY220" fmla="*/ 1930432 h 2344739"/>
              <a:gd name="connsiteX221" fmla="*/ 720047 w 12192001"/>
              <a:gd name="connsiteY221" fmla="*/ 1929661 h 2344739"/>
              <a:gd name="connsiteX222" fmla="*/ 719742 w 12192001"/>
              <a:gd name="connsiteY222" fmla="*/ 1928399 h 2344739"/>
              <a:gd name="connsiteX223" fmla="*/ 708875 w 12192001"/>
              <a:gd name="connsiteY223" fmla="*/ 1922722 h 2344739"/>
              <a:gd name="connsiteX224" fmla="*/ 596792 w 12192001"/>
              <a:gd name="connsiteY224" fmla="*/ 1879864 h 2344739"/>
              <a:gd name="connsiteX225" fmla="*/ 578535 w 12192001"/>
              <a:gd name="connsiteY225" fmla="*/ 1877212 h 2344739"/>
              <a:gd name="connsiteX226" fmla="*/ 571717 w 12192001"/>
              <a:gd name="connsiteY226" fmla="*/ 1877401 h 2344739"/>
              <a:gd name="connsiteX227" fmla="*/ 445099 w 12192001"/>
              <a:gd name="connsiteY227" fmla="*/ 1839371 h 2344739"/>
              <a:gd name="connsiteX228" fmla="*/ 404015 w 12192001"/>
              <a:gd name="connsiteY228" fmla="*/ 1833548 h 2344739"/>
              <a:gd name="connsiteX229" fmla="*/ 292435 w 12192001"/>
              <a:gd name="connsiteY229" fmla="*/ 1812852 h 2344739"/>
              <a:gd name="connsiteX230" fmla="*/ 118381 w 12192001"/>
              <a:gd name="connsiteY230" fmla="*/ 1761047 h 2344739"/>
              <a:gd name="connsiteX231" fmla="*/ 15526 w 12192001"/>
              <a:gd name="connsiteY231" fmla="*/ 1758191 h 2344739"/>
              <a:gd name="connsiteX232" fmla="*/ 2 w 12192001"/>
              <a:gd name="connsiteY232" fmla="*/ 1752722 h 2344739"/>
              <a:gd name="connsiteX233" fmla="*/ 1 w 12192001"/>
              <a:gd name="connsiteY233" fmla="*/ 762497 h 2344739"/>
              <a:gd name="connsiteX234" fmla="*/ 0 w 12192001"/>
              <a:gd name="connsiteY234" fmla="*/ 762497 h 2344739"/>
              <a:gd name="connsiteX235" fmla="*/ 0 w 12192001"/>
              <a:gd name="connsiteY235" fmla="*/ 222213 h 2344739"/>
              <a:gd name="connsiteX236" fmla="*/ 0 w 12192001"/>
              <a:gd name="connsiteY236"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306392 w 12192001"/>
              <a:gd name="connsiteY25" fmla="*/ 1272239 h 2344739"/>
              <a:gd name="connsiteX26" fmla="*/ 11309326 w 12192001"/>
              <a:gd name="connsiteY26" fmla="*/ 1274846 h 2344739"/>
              <a:gd name="connsiteX27" fmla="*/ 11294224 w 12192001"/>
              <a:gd name="connsiteY27" fmla="*/ 1283683 h 2344739"/>
              <a:gd name="connsiteX28" fmla="*/ 11245526 w 12192001"/>
              <a:gd name="connsiteY28" fmla="*/ 1274060 h 2344739"/>
              <a:gd name="connsiteX29" fmla="*/ 11227161 w 12192001"/>
              <a:gd name="connsiteY29" fmla="*/ 1276236 h 2344739"/>
              <a:gd name="connsiteX30" fmla="*/ 11216939 w 12192001"/>
              <a:gd name="connsiteY30" fmla="*/ 1275961 h 2344739"/>
              <a:gd name="connsiteX31" fmla="*/ 11216036 w 12192001"/>
              <a:gd name="connsiteY31" fmla="*/ 1275018 h 2344739"/>
              <a:gd name="connsiteX32" fmla="*/ 11187737 w 12192001"/>
              <a:gd name="connsiteY32" fmla="*/ 1292383 h 2344739"/>
              <a:gd name="connsiteX33" fmla="*/ 11183353 w 12192001"/>
              <a:gd name="connsiteY33" fmla="*/ 1292525 h 2344739"/>
              <a:gd name="connsiteX34" fmla="*/ 11165706 w 12192001"/>
              <a:gd name="connsiteY34" fmla="*/ 1306612 h 2344739"/>
              <a:gd name="connsiteX35" fmla="*/ 11156163 w 12192001"/>
              <a:gd name="connsiteY35" fmla="*/ 1312414 h 2344739"/>
              <a:gd name="connsiteX36" fmla="*/ 11154348 w 12192001"/>
              <a:gd name="connsiteY36" fmla="*/ 1317097 h 2344739"/>
              <a:gd name="connsiteX37" fmla="*/ 11139813 w 12192001"/>
              <a:gd name="connsiteY37" fmla="*/ 1324115 h 2344739"/>
              <a:gd name="connsiteX38" fmla="*/ 11137813 w 12192001"/>
              <a:gd name="connsiteY38" fmla="*/ 1323772 h 2344739"/>
              <a:gd name="connsiteX39" fmla="*/ 11127060 w 12192001"/>
              <a:gd name="connsiteY39" fmla="*/ 1333832 h 2344739"/>
              <a:gd name="connsiteX40" fmla="*/ 11119543 w 12192001"/>
              <a:gd name="connsiteY40" fmla="*/ 1347424 h 2344739"/>
              <a:gd name="connsiteX41" fmla="*/ 10893535 w 12192001"/>
              <a:gd name="connsiteY41" fmla="*/ 1473399 h 2344739"/>
              <a:gd name="connsiteX42" fmla="*/ 10772152 w 12192001"/>
              <a:gd name="connsiteY42" fmla="*/ 1523191 h 2344739"/>
              <a:gd name="connsiteX43" fmla="*/ 10626520 w 12192001"/>
              <a:gd name="connsiteY43" fmla="*/ 1559229 h 2344739"/>
              <a:gd name="connsiteX44" fmla="*/ 10580747 w 12192001"/>
              <a:gd name="connsiteY44" fmla="*/ 1568689 h 2344739"/>
              <a:gd name="connsiteX45" fmla="*/ 10546642 w 12192001"/>
              <a:gd name="connsiteY45" fmla="*/ 1598423 h 2344739"/>
              <a:gd name="connsiteX46" fmla="*/ 10528495 w 12192001"/>
              <a:gd name="connsiteY46" fmla="*/ 1596907 h 2344739"/>
              <a:gd name="connsiteX47" fmla="*/ 10525298 w 12192001"/>
              <a:gd name="connsiteY47" fmla="*/ 1596411 h 2344739"/>
              <a:gd name="connsiteX48" fmla="*/ 10513981 w 12192001"/>
              <a:gd name="connsiteY48" fmla="*/ 1599537 h 2344739"/>
              <a:gd name="connsiteX49" fmla="*/ 10490587 w 12192001"/>
              <a:gd name="connsiteY49" fmla="*/ 1594156 h 2344739"/>
              <a:gd name="connsiteX50" fmla="*/ 10470270 w 12192001"/>
              <a:gd name="connsiteY50" fmla="*/ 1601693 h 2344739"/>
              <a:gd name="connsiteX51" fmla="*/ 10375894 w 12192001"/>
              <a:gd name="connsiteY51" fmla="*/ 1644598 h 2344739"/>
              <a:gd name="connsiteX52" fmla="*/ 10318190 w 12192001"/>
              <a:gd name="connsiteY52" fmla="*/ 1666221 h 2344739"/>
              <a:gd name="connsiteX53" fmla="*/ 10294319 w 12192001"/>
              <a:gd name="connsiteY53" fmla="*/ 1668079 h 2344739"/>
              <a:gd name="connsiteX54" fmla="*/ 10262295 w 12192001"/>
              <a:gd name="connsiteY54" fmla="*/ 1674948 h 2344739"/>
              <a:gd name="connsiteX55" fmla="*/ 10204270 w 12192001"/>
              <a:gd name="connsiteY55" fmla="*/ 1682149 h 2344739"/>
              <a:gd name="connsiteX56" fmla="*/ 10176611 w 12192001"/>
              <a:gd name="connsiteY56" fmla="*/ 1692943 h 2344739"/>
              <a:gd name="connsiteX57" fmla="*/ 10163922 w 12192001"/>
              <a:gd name="connsiteY57" fmla="*/ 1693739 h 2344739"/>
              <a:gd name="connsiteX58" fmla="*/ 10155160 w 12192001"/>
              <a:gd name="connsiteY58" fmla="*/ 1707487 h 2344739"/>
              <a:gd name="connsiteX59" fmla="*/ 10117119 w 12192001"/>
              <a:gd name="connsiteY59" fmla="*/ 1731142 h 2344739"/>
              <a:gd name="connsiteX60" fmla="*/ 10100445 w 12192001"/>
              <a:gd name="connsiteY60" fmla="*/ 1742432 h 2344739"/>
              <a:gd name="connsiteX61" fmla="*/ 10082169 w 12192001"/>
              <a:gd name="connsiteY61" fmla="*/ 1743296 h 2344739"/>
              <a:gd name="connsiteX62" fmla="*/ 10039240 w 12192001"/>
              <a:gd name="connsiteY62" fmla="*/ 1741632 h 2344739"/>
              <a:gd name="connsiteX63" fmla="*/ 9960019 w 12192001"/>
              <a:gd name="connsiteY63" fmla="*/ 1757147 h 2344739"/>
              <a:gd name="connsiteX64" fmla="*/ 9847792 w 12192001"/>
              <a:gd name="connsiteY64" fmla="*/ 1763915 h 2344739"/>
              <a:gd name="connsiteX65" fmla="*/ 9728309 w 12192001"/>
              <a:gd name="connsiteY65" fmla="*/ 1784122 h 2344739"/>
              <a:gd name="connsiteX66" fmla="*/ 9584507 w 12192001"/>
              <a:gd name="connsiteY66" fmla="*/ 1795542 h 2344739"/>
              <a:gd name="connsiteX67" fmla="*/ 9343052 w 12192001"/>
              <a:gd name="connsiteY67" fmla="*/ 1841244 h 2344739"/>
              <a:gd name="connsiteX68" fmla="*/ 9231370 w 12192001"/>
              <a:gd name="connsiteY68" fmla="*/ 1893149 h 2344739"/>
              <a:gd name="connsiteX69" fmla="*/ 9194810 w 12192001"/>
              <a:gd name="connsiteY69" fmla="*/ 1903228 h 2344739"/>
              <a:gd name="connsiteX70" fmla="*/ 9189246 w 12192001"/>
              <a:gd name="connsiteY70" fmla="*/ 1912467 h 2344739"/>
              <a:gd name="connsiteX71" fmla="*/ 9151232 w 12192001"/>
              <a:gd name="connsiteY71" fmla="*/ 1923669 h 2344739"/>
              <a:gd name="connsiteX72" fmla="*/ 9150210 w 12192001"/>
              <a:gd name="connsiteY72" fmla="*/ 1922604 h 2344739"/>
              <a:gd name="connsiteX73" fmla="*/ 9137318 w 12192001"/>
              <a:gd name="connsiteY73" fmla="*/ 1920435 h 2344739"/>
              <a:gd name="connsiteX74" fmla="*/ 9113812 w 12192001"/>
              <a:gd name="connsiteY74" fmla="*/ 1919069 h 2344739"/>
              <a:gd name="connsiteX75" fmla="*/ 9053453 w 12192001"/>
              <a:gd name="connsiteY75" fmla="*/ 1910755 h 2344739"/>
              <a:gd name="connsiteX76" fmla="*/ 9005486 w 12192001"/>
              <a:gd name="connsiteY76" fmla="*/ 1914040 h 2344739"/>
              <a:gd name="connsiteX77" fmla="*/ 9005201 w 12192001"/>
              <a:gd name="connsiteY77" fmla="*/ 1913800 h 2344739"/>
              <a:gd name="connsiteX78" fmla="*/ 8996232 w 12192001"/>
              <a:gd name="connsiteY78" fmla="*/ 1915011 h 2344739"/>
              <a:gd name="connsiteX79" fmla="*/ 8990394 w 12192001"/>
              <a:gd name="connsiteY79" fmla="*/ 1917072 h 2344739"/>
              <a:gd name="connsiteX80" fmla="*/ 8974337 w 12192001"/>
              <a:gd name="connsiteY80" fmla="*/ 1920298 h 2344739"/>
              <a:gd name="connsiteX81" fmla="*/ 8968011 w 12192001"/>
              <a:gd name="connsiteY81" fmla="*/ 1919598 h 2344739"/>
              <a:gd name="connsiteX82" fmla="*/ 8963048 w 12192001"/>
              <a:gd name="connsiteY82" fmla="*/ 1917373 h 2344739"/>
              <a:gd name="connsiteX83" fmla="*/ 8928988 w 12192001"/>
              <a:gd name="connsiteY83" fmla="*/ 1914185 h 2344739"/>
              <a:gd name="connsiteX84" fmla="*/ 8752444 w 12192001"/>
              <a:gd name="connsiteY84" fmla="*/ 1933417 h 2344739"/>
              <a:gd name="connsiteX85" fmla="*/ 8707847 w 12192001"/>
              <a:gd name="connsiteY85" fmla="*/ 1935518 h 2344739"/>
              <a:gd name="connsiteX86" fmla="*/ 8596071 w 12192001"/>
              <a:gd name="connsiteY86" fmla="*/ 1944090 h 2344739"/>
              <a:gd name="connsiteX87" fmla="*/ 8525230 w 12192001"/>
              <a:gd name="connsiteY87" fmla="*/ 1929248 h 2344739"/>
              <a:gd name="connsiteX88" fmla="*/ 8510983 w 12192001"/>
              <a:gd name="connsiteY88" fmla="*/ 1935163 h 2344739"/>
              <a:gd name="connsiteX89" fmla="*/ 8506167 w 12192001"/>
              <a:gd name="connsiteY89" fmla="*/ 1938164 h 2344739"/>
              <a:gd name="connsiteX90" fmla="*/ 8497968 w 12192001"/>
              <a:gd name="connsiteY90" fmla="*/ 1940902 h 2344739"/>
              <a:gd name="connsiteX91" fmla="*/ 8497594 w 12192001"/>
              <a:gd name="connsiteY91" fmla="*/ 1940723 h 2344739"/>
              <a:gd name="connsiteX92" fmla="*/ 8490249 w 12192001"/>
              <a:gd name="connsiteY92" fmla="*/ 1943773 h 2344739"/>
              <a:gd name="connsiteX93" fmla="*/ 8367182 w 12192001"/>
              <a:gd name="connsiteY93" fmla="*/ 1957815 h 2344739"/>
              <a:gd name="connsiteX94" fmla="*/ 8353799 w 12192001"/>
              <a:gd name="connsiteY94" fmla="*/ 1958009 h 2344739"/>
              <a:gd name="connsiteX95" fmla="*/ 8352373 w 12192001"/>
              <a:gd name="connsiteY95" fmla="*/ 1957169 h 2344739"/>
              <a:gd name="connsiteX96" fmla="*/ 8320104 w 12192001"/>
              <a:gd name="connsiteY96" fmla="*/ 1974587 h 2344739"/>
              <a:gd name="connsiteX97" fmla="*/ 8314433 w 12192001"/>
              <a:gd name="connsiteY97" fmla="*/ 1974913 h 2344739"/>
              <a:gd name="connsiteX98" fmla="*/ 8295174 w 12192001"/>
              <a:gd name="connsiteY98" fmla="*/ 1988808 h 2344739"/>
              <a:gd name="connsiteX99" fmla="*/ 8284276 w 12192001"/>
              <a:gd name="connsiteY99" fmla="*/ 1994631 h 2344739"/>
              <a:gd name="connsiteX100" fmla="*/ 8283150 w 12192001"/>
              <a:gd name="connsiteY100" fmla="*/ 1999074 h 2344739"/>
              <a:gd name="connsiteX101" fmla="*/ 8266076 w 12192001"/>
              <a:gd name="connsiteY101" fmla="*/ 2006249 h 2344739"/>
              <a:gd name="connsiteX102" fmla="*/ 8263377 w 12192001"/>
              <a:gd name="connsiteY102" fmla="*/ 2006019 h 2344739"/>
              <a:gd name="connsiteX103" fmla="*/ 8252033 w 12192001"/>
              <a:gd name="connsiteY103" fmla="*/ 2015862 h 2344739"/>
              <a:gd name="connsiteX104" fmla="*/ 8245834 w 12192001"/>
              <a:gd name="connsiteY104" fmla="*/ 2028854 h 2344739"/>
              <a:gd name="connsiteX105" fmla="*/ 8090272 w 12192001"/>
              <a:gd name="connsiteY105" fmla="*/ 2075015 h 2344739"/>
              <a:gd name="connsiteX106" fmla="*/ 7905407 w 12192001"/>
              <a:gd name="connsiteY106" fmla="*/ 2116988 h 2344739"/>
              <a:gd name="connsiteX107" fmla="*/ 7718745 w 12192001"/>
              <a:gd name="connsiteY107" fmla="*/ 2142703 h 2344739"/>
              <a:gd name="connsiteX108" fmla="*/ 7614347 w 12192001"/>
              <a:gd name="connsiteY108" fmla="*/ 2139232 h 2344739"/>
              <a:gd name="connsiteX109" fmla="*/ 7527543 w 12192001"/>
              <a:gd name="connsiteY109" fmla="*/ 2145060 h 2344739"/>
              <a:gd name="connsiteX110" fmla="*/ 7519571 w 12192001"/>
              <a:gd name="connsiteY110" fmla="*/ 2147613 h 2344739"/>
              <a:gd name="connsiteX111" fmla="*/ 7507411 w 12192001"/>
              <a:gd name="connsiteY111" fmla="*/ 2148948 h 2344739"/>
              <a:gd name="connsiteX112" fmla="*/ 7507040 w 12192001"/>
              <a:gd name="connsiteY112" fmla="*/ 2148621 h 2344739"/>
              <a:gd name="connsiteX113" fmla="*/ 7495795 w 12192001"/>
              <a:gd name="connsiteY113" fmla="*/ 2150573 h 2344739"/>
              <a:gd name="connsiteX114" fmla="*/ 7405391 w 12192001"/>
              <a:gd name="connsiteY114" fmla="*/ 2142468 h 2344739"/>
              <a:gd name="connsiteX115" fmla="*/ 7312180 w 12192001"/>
              <a:gd name="connsiteY115" fmla="*/ 2132873 h 2344739"/>
              <a:gd name="connsiteX116" fmla="*/ 7310853 w 12192001"/>
              <a:gd name="connsiteY116" fmla="*/ 2131431 h 2344739"/>
              <a:gd name="connsiteX117" fmla="*/ 7218559 w 12192001"/>
              <a:gd name="connsiteY117" fmla="*/ 2156680 h 2344739"/>
              <a:gd name="connsiteX118" fmla="*/ 7201101 w 12192001"/>
              <a:gd name="connsiteY118" fmla="*/ 2161230 h 2344739"/>
              <a:gd name="connsiteX119" fmla="*/ 7197004 w 12192001"/>
              <a:gd name="connsiteY119" fmla="*/ 2166588 h 2344739"/>
              <a:gd name="connsiteX120" fmla="*/ 7170808 w 12192001"/>
              <a:gd name="connsiteY120" fmla="*/ 2171236 h 2344739"/>
              <a:gd name="connsiteX121" fmla="*/ 7096988 w 12192001"/>
              <a:gd name="connsiteY121" fmla="*/ 2183464 h 2344739"/>
              <a:gd name="connsiteX122" fmla="*/ 7018496 w 12192001"/>
              <a:gd name="connsiteY122" fmla="*/ 2183090 h 2344739"/>
              <a:gd name="connsiteX123" fmla="*/ 6904146 w 12192001"/>
              <a:gd name="connsiteY123" fmla="*/ 2212596 h 2344739"/>
              <a:gd name="connsiteX124" fmla="*/ 6708222 w 12192001"/>
              <a:gd name="connsiteY124" fmla="*/ 2240551 h 2344739"/>
              <a:gd name="connsiteX125" fmla="*/ 6549454 w 12192001"/>
              <a:gd name="connsiteY125" fmla="*/ 2269327 h 2344739"/>
              <a:gd name="connsiteX126" fmla="*/ 6317560 w 12192001"/>
              <a:gd name="connsiteY126" fmla="*/ 2316127 h 2344739"/>
              <a:gd name="connsiteX127" fmla="*/ 6168674 w 12192001"/>
              <a:gd name="connsiteY127" fmla="*/ 2318214 h 2344739"/>
              <a:gd name="connsiteX128" fmla="*/ 6073848 w 12192001"/>
              <a:gd name="connsiteY128" fmla="*/ 2338676 h 2344739"/>
              <a:gd name="connsiteX129" fmla="*/ 6068529 w 12192001"/>
              <a:gd name="connsiteY129" fmla="*/ 2337139 h 2344739"/>
              <a:gd name="connsiteX130" fmla="*/ 6048638 w 12192001"/>
              <a:gd name="connsiteY130" fmla="*/ 2337822 h 2344739"/>
              <a:gd name="connsiteX131" fmla="*/ 6041285 w 12192001"/>
              <a:gd name="connsiteY131" fmla="*/ 2329473 h 2344739"/>
              <a:gd name="connsiteX132" fmla="*/ 6010090 w 12192001"/>
              <a:gd name="connsiteY132" fmla="*/ 2324380 h 2344739"/>
              <a:gd name="connsiteX133" fmla="*/ 5957375 w 12192001"/>
              <a:gd name="connsiteY133" fmla="*/ 2328024 h 2344739"/>
              <a:gd name="connsiteX134" fmla="*/ 5758919 w 12192001"/>
              <a:gd name="connsiteY134" fmla="*/ 2343716 h 2344739"/>
              <a:gd name="connsiteX135" fmla="*/ 5626960 w 12192001"/>
              <a:gd name="connsiteY135" fmla="*/ 2344739 h 2344739"/>
              <a:gd name="connsiteX136" fmla="*/ 5470906 w 12192001"/>
              <a:gd name="connsiteY136" fmla="*/ 2330719 h 2344739"/>
              <a:gd name="connsiteX137" fmla="*/ 5432761 w 12192001"/>
              <a:gd name="connsiteY137" fmla="*/ 2319466 h 2344739"/>
              <a:gd name="connsiteX138" fmla="*/ 5381669 w 12192001"/>
              <a:gd name="connsiteY138" fmla="*/ 2301764 h 2344739"/>
              <a:gd name="connsiteX139" fmla="*/ 5261764 w 12192001"/>
              <a:gd name="connsiteY139" fmla="*/ 2281347 h 2344739"/>
              <a:gd name="connsiteX140" fmla="*/ 5222961 w 12192001"/>
              <a:gd name="connsiteY140" fmla="*/ 2270223 h 2344739"/>
              <a:gd name="connsiteX141" fmla="*/ 5174660 w 12192001"/>
              <a:gd name="connsiteY141" fmla="*/ 2267233 h 2344739"/>
              <a:gd name="connsiteX142" fmla="*/ 5156554 w 12192001"/>
              <a:gd name="connsiteY142" fmla="*/ 2260010 h 2344739"/>
              <a:gd name="connsiteX143" fmla="*/ 5142599 w 12192001"/>
              <a:gd name="connsiteY143" fmla="*/ 2256610 h 2344739"/>
              <a:gd name="connsiteX144" fmla="*/ 5139596 w 12192001"/>
              <a:gd name="connsiteY144" fmla="*/ 2254509 h 2344739"/>
              <a:gd name="connsiteX145" fmla="*/ 5121659 w 12192001"/>
              <a:gd name="connsiteY145" fmla="*/ 2243656 h 2344739"/>
              <a:gd name="connsiteX146" fmla="*/ 5065790 w 12192001"/>
              <a:gd name="connsiteY146" fmla="*/ 2250227 h 2344739"/>
              <a:gd name="connsiteX147" fmla="*/ 5011514 w 12192001"/>
              <a:gd name="connsiteY147" fmla="*/ 2233846 h 2344739"/>
              <a:gd name="connsiteX148" fmla="*/ 4840441 w 12192001"/>
              <a:gd name="connsiteY148" fmla="*/ 2209829 h 2344739"/>
              <a:gd name="connsiteX149" fmla="*/ 4762447 w 12192001"/>
              <a:gd name="connsiteY149" fmla="*/ 2182061 h 2344739"/>
              <a:gd name="connsiteX150" fmla="*/ 4723186 w 12192001"/>
              <a:gd name="connsiteY150" fmla="*/ 2173047 h 2344739"/>
              <a:gd name="connsiteX151" fmla="*/ 4721176 w 12192001"/>
              <a:gd name="connsiteY151" fmla="*/ 2172298 h 2344739"/>
              <a:gd name="connsiteX152" fmla="*/ 4722111 w 12192001"/>
              <a:gd name="connsiteY152" fmla="*/ 2172087 h 2344739"/>
              <a:gd name="connsiteX153" fmla="*/ 4717202 w 12192001"/>
              <a:gd name="connsiteY153" fmla="*/ 2170817 h 2344739"/>
              <a:gd name="connsiteX154" fmla="*/ 4721176 w 12192001"/>
              <a:gd name="connsiteY154" fmla="*/ 2172298 h 2344739"/>
              <a:gd name="connsiteX155" fmla="*/ 4715526 w 12192001"/>
              <a:gd name="connsiteY155" fmla="*/ 2173573 h 2344739"/>
              <a:gd name="connsiteX156" fmla="*/ 4515814 w 12192001"/>
              <a:gd name="connsiteY156" fmla="*/ 2163671 h 2344739"/>
              <a:gd name="connsiteX157" fmla="*/ 4428543 w 12192001"/>
              <a:gd name="connsiteY157" fmla="*/ 2153020 h 2344739"/>
              <a:gd name="connsiteX158" fmla="*/ 4362875 w 12192001"/>
              <a:gd name="connsiteY158" fmla="*/ 2151674 h 2344739"/>
              <a:gd name="connsiteX159" fmla="*/ 4316966 w 12192001"/>
              <a:gd name="connsiteY159" fmla="*/ 2158289 h 2344739"/>
              <a:gd name="connsiteX160" fmla="*/ 4315110 w 12192001"/>
              <a:gd name="connsiteY160" fmla="*/ 2156948 h 2344739"/>
              <a:gd name="connsiteX161" fmla="*/ 4295144 w 12192001"/>
              <a:gd name="connsiteY161" fmla="*/ 2155069 h 2344739"/>
              <a:gd name="connsiteX162" fmla="*/ 4290064 w 12192001"/>
              <a:gd name="connsiteY162" fmla="*/ 2157986 h 2344739"/>
              <a:gd name="connsiteX163" fmla="*/ 4276142 w 12192001"/>
              <a:gd name="connsiteY163" fmla="*/ 2157740 h 2344739"/>
              <a:gd name="connsiteX164" fmla="*/ 4248117 w 12192001"/>
              <a:gd name="connsiteY164" fmla="*/ 2160064 h 2344739"/>
              <a:gd name="connsiteX165" fmla="*/ 4202051 w 12192001"/>
              <a:gd name="connsiteY165" fmla="*/ 2157269 h 2344739"/>
              <a:gd name="connsiteX166" fmla="*/ 4201745 w 12192001"/>
              <a:gd name="connsiteY166" fmla="*/ 2156010 h 2344739"/>
              <a:gd name="connsiteX167" fmla="*/ 4191248 w 12192001"/>
              <a:gd name="connsiteY167" fmla="*/ 2150376 h 2344739"/>
              <a:gd name="connsiteX168" fmla="*/ 4142745 w 12192001"/>
              <a:gd name="connsiteY168" fmla="*/ 2134511 h 2344739"/>
              <a:gd name="connsiteX169" fmla="*/ 4083097 w 12192001"/>
              <a:gd name="connsiteY169" fmla="*/ 2107978 h 2344739"/>
              <a:gd name="connsiteX170" fmla="*/ 4074546 w 12192001"/>
              <a:gd name="connsiteY170" fmla="*/ 2107143 h 2344739"/>
              <a:gd name="connsiteX171" fmla="*/ 4074427 w 12192001"/>
              <a:gd name="connsiteY171" fmla="*/ 2106844 h 2344739"/>
              <a:gd name="connsiteX172" fmla="*/ 4065510 w 12192001"/>
              <a:gd name="connsiteY172" fmla="*/ 2105400 h 2344739"/>
              <a:gd name="connsiteX173" fmla="*/ 4058954 w 12192001"/>
              <a:gd name="connsiteY173" fmla="*/ 2105618 h 2344739"/>
              <a:gd name="connsiteX174" fmla="*/ 4042364 w 12192001"/>
              <a:gd name="connsiteY174" fmla="*/ 2103997 h 2344739"/>
              <a:gd name="connsiteX175" fmla="*/ 4036997 w 12192001"/>
              <a:gd name="connsiteY175" fmla="*/ 2101563 h 2344739"/>
              <a:gd name="connsiteX176" fmla="*/ 4035363 w 12192001"/>
              <a:gd name="connsiteY176" fmla="*/ 2097896 h 2344739"/>
              <a:gd name="connsiteX177" fmla="*/ 4033778 w 12192001"/>
              <a:gd name="connsiteY177" fmla="*/ 2098131 h 2344739"/>
              <a:gd name="connsiteX178" fmla="*/ 4004538 w 12192001"/>
              <a:gd name="connsiteY178" fmla="*/ 2085563 h 2344739"/>
              <a:gd name="connsiteX179" fmla="*/ 3936846 w 12192001"/>
              <a:gd name="connsiteY179" fmla="*/ 2068106 h 2344739"/>
              <a:gd name="connsiteX180" fmla="*/ 3897275 w 12192001"/>
              <a:gd name="connsiteY180" fmla="*/ 2062451 h 2344739"/>
              <a:gd name="connsiteX181" fmla="*/ 3789760 w 12192001"/>
              <a:gd name="connsiteY181" fmla="*/ 2042213 h 2344739"/>
              <a:gd name="connsiteX182" fmla="*/ 3682513 w 12192001"/>
              <a:gd name="connsiteY182" fmla="*/ 2018290 h 2344739"/>
              <a:gd name="connsiteX183" fmla="*/ 3610035 w 12192001"/>
              <a:gd name="connsiteY183" fmla="*/ 1986019 h 2344739"/>
              <a:gd name="connsiteX184" fmla="*/ 3603855 w 12192001"/>
              <a:gd name="connsiteY184" fmla="*/ 1987381 h 2344739"/>
              <a:gd name="connsiteX185" fmla="*/ 3594736 w 12192001"/>
              <a:gd name="connsiteY185" fmla="*/ 1987545 h 2344739"/>
              <a:gd name="connsiteX186" fmla="*/ 3594501 w 12192001"/>
              <a:gd name="connsiteY186" fmla="*/ 1987276 h 2344739"/>
              <a:gd name="connsiteX187" fmla="*/ 3585978 w 12192001"/>
              <a:gd name="connsiteY187" fmla="*/ 1987966 h 2344739"/>
              <a:gd name="connsiteX188" fmla="*/ 3536135 w 12192001"/>
              <a:gd name="connsiteY188" fmla="*/ 1978267 h 2344739"/>
              <a:gd name="connsiteX189" fmla="*/ 3473223 w 12192001"/>
              <a:gd name="connsiteY189" fmla="*/ 1974606 h 2344739"/>
              <a:gd name="connsiteX190" fmla="*/ 3400728 w 12192001"/>
              <a:gd name="connsiteY190" fmla="*/ 1962558 h 2344739"/>
              <a:gd name="connsiteX191" fmla="*/ 3363888 w 12192001"/>
              <a:gd name="connsiteY191" fmla="*/ 1979510 h 2344739"/>
              <a:gd name="connsiteX192" fmla="*/ 3344026 w 12192001"/>
              <a:gd name="connsiteY192" fmla="*/ 1981192 h 2344739"/>
              <a:gd name="connsiteX193" fmla="*/ 3341698 w 12192001"/>
              <a:gd name="connsiteY193" fmla="*/ 1980217 h 2344739"/>
              <a:gd name="connsiteX194" fmla="*/ 3262356 w 12192001"/>
              <a:gd name="connsiteY194" fmla="*/ 1986094 h 2344739"/>
              <a:gd name="connsiteX195" fmla="*/ 3142556 w 12192001"/>
              <a:gd name="connsiteY195" fmla="*/ 1993869 h 2344739"/>
              <a:gd name="connsiteX196" fmla="*/ 3030291 w 12192001"/>
              <a:gd name="connsiteY196" fmla="*/ 1996512 h 2344739"/>
              <a:gd name="connsiteX197" fmla="*/ 2781569 w 12192001"/>
              <a:gd name="connsiteY197" fmla="*/ 2018333 h 2344739"/>
              <a:gd name="connsiteX198" fmla="*/ 2646527 w 12192001"/>
              <a:gd name="connsiteY198" fmla="*/ 2028869 h 2344739"/>
              <a:gd name="connsiteX199" fmla="*/ 2568028 w 12192001"/>
              <a:gd name="connsiteY199" fmla="*/ 2002628 h 2344739"/>
              <a:gd name="connsiteX200" fmla="*/ 2443255 w 12192001"/>
              <a:gd name="connsiteY200" fmla="*/ 2016529 h 2344739"/>
              <a:gd name="connsiteX201" fmla="*/ 2315112 w 12192001"/>
              <a:gd name="connsiteY201" fmla="*/ 2024996 h 2344739"/>
              <a:gd name="connsiteX202" fmla="*/ 2208578 w 12192001"/>
              <a:gd name="connsiteY202" fmla="*/ 2019763 h 2344739"/>
              <a:gd name="connsiteX203" fmla="*/ 2094665 w 12192001"/>
              <a:gd name="connsiteY203" fmla="*/ 2003052 h 2344739"/>
              <a:gd name="connsiteX204" fmla="*/ 1997356 w 12192001"/>
              <a:gd name="connsiteY204" fmla="*/ 1995032 h 2344739"/>
              <a:gd name="connsiteX205" fmla="*/ 1928172 w 12192001"/>
              <a:gd name="connsiteY205" fmla="*/ 2016977 h 2344739"/>
              <a:gd name="connsiteX206" fmla="*/ 1921650 w 12192001"/>
              <a:gd name="connsiteY206" fmla="*/ 2012146 h 2344739"/>
              <a:gd name="connsiteX207" fmla="*/ 1873080 w 12192001"/>
              <a:gd name="connsiteY207" fmla="*/ 2013741 h 2344739"/>
              <a:gd name="connsiteX208" fmla="*/ 1786655 w 12192001"/>
              <a:gd name="connsiteY208" fmla="*/ 2041363 h 2344739"/>
              <a:gd name="connsiteX209" fmla="*/ 1738204 w 12192001"/>
              <a:gd name="connsiteY209" fmla="*/ 2036312 h 2344739"/>
              <a:gd name="connsiteX210" fmla="*/ 1675071 w 12192001"/>
              <a:gd name="connsiteY210" fmla="*/ 2019963 h 2344739"/>
              <a:gd name="connsiteX211" fmla="*/ 1608669 w 12192001"/>
              <a:gd name="connsiteY211" fmla="*/ 2013066 h 2344739"/>
              <a:gd name="connsiteX212" fmla="*/ 1496110 w 12192001"/>
              <a:gd name="connsiteY212" fmla="*/ 1987476 h 2344739"/>
              <a:gd name="connsiteX213" fmla="*/ 1149979 w 12192001"/>
              <a:gd name="connsiteY213" fmla="*/ 1938041 h 2344739"/>
              <a:gd name="connsiteX214" fmla="*/ 858269 w 12192001"/>
              <a:gd name="connsiteY214" fmla="*/ 1928608 h 2344739"/>
              <a:gd name="connsiteX215" fmla="*/ 837540 w 12192001"/>
              <a:gd name="connsiteY215" fmla="*/ 1929821 h 2344739"/>
              <a:gd name="connsiteX216" fmla="*/ 816809 w 12192001"/>
              <a:gd name="connsiteY216" fmla="*/ 1927857 h 2344739"/>
              <a:gd name="connsiteX217" fmla="*/ 811506 w 12192001"/>
              <a:gd name="connsiteY217" fmla="*/ 1930751 h 2344739"/>
              <a:gd name="connsiteX218" fmla="*/ 797041 w 12192001"/>
              <a:gd name="connsiteY218" fmla="*/ 1930446 h 2344739"/>
              <a:gd name="connsiteX219" fmla="*/ 767901 w 12192001"/>
              <a:gd name="connsiteY219" fmla="*/ 1932653 h 2344739"/>
              <a:gd name="connsiteX220" fmla="*/ 763053 w 12192001"/>
              <a:gd name="connsiteY220" fmla="*/ 1930432 h 2344739"/>
              <a:gd name="connsiteX221" fmla="*/ 720047 w 12192001"/>
              <a:gd name="connsiteY221" fmla="*/ 1929661 h 2344739"/>
              <a:gd name="connsiteX222" fmla="*/ 719742 w 12192001"/>
              <a:gd name="connsiteY222" fmla="*/ 1928399 h 2344739"/>
              <a:gd name="connsiteX223" fmla="*/ 708875 w 12192001"/>
              <a:gd name="connsiteY223" fmla="*/ 1922722 h 2344739"/>
              <a:gd name="connsiteX224" fmla="*/ 596792 w 12192001"/>
              <a:gd name="connsiteY224" fmla="*/ 1879864 h 2344739"/>
              <a:gd name="connsiteX225" fmla="*/ 578535 w 12192001"/>
              <a:gd name="connsiteY225" fmla="*/ 1877212 h 2344739"/>
              <a:gd name="connsiteX226" fmla="*/ 571717 w 12192001"/>
              <a:gd name="connsiteY226" fmla="*/ 1877401 h 2344739"/>
              <a:gd name="connsiteX227" fmla="*/ 445099 w 12192001"/>
              <a:gd name="connsiteY227" fmla="*/ 1839371 h 2344739"/>
              <a:gd name="connsiteX228" fmla="*/ 404015 w 12192001"/>
              <a:gd name="connsiteY228" fmla="*/ 1833548 h 2344739"/>
              <a:gd name="connsiteX229" fmla="*/ 292435 w 12192001"/>
              <a:gd name="connsiteY229" fmla="*/ 1812852 h 2344739"/>
              <a:gd name="connsiteX230" fmla="*/ 118381 w 12192001"/>
              <a:gd name="connsiteY230" fmla="*/ 1761047 h 2344739"/>
              <a:gd name="connsiteX231" fmla="*/ 15526 w 12192001"/>
              <a:gd name="connsiteY231" fmla="*/ 1758191 h 2344739"/>
              <a:gd name="connsiteX232" fmla="*/ 2 w 12192001"/>
              <a:gd name="connsiteY232" fmla="*/ 1752722 h 2344739"/>
              <a:gd name="connsiteX233" fmla="*/ 1 w 12192001"/>
              <a:gd name="connsiteY233" fmla="*/ 762497 h 2344739"/>
              <a:gd name="connsiteX234" fmla="*/ 0 w 12192001"/>
              <a:gd name="connsiteY234" fmla="*/ 762497 h 2344739"/>
              <a:gd name="connsiteX235" fmla="*/ 0 w 12192001"/>
              <a:gd name="connsiteY235" fmla="*/ 222213 h 2344739"/>
              <a:gd name="connsiteX236" fmla="*/ 0 w 12192001"/>
              <a:gd name="connsiteY236"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306392 w 12192001"/>
              <a:gd name="connsiteY25" fmla="*/ 1272239 h 2344739"/>
              <a:gd name="connsiteX26" fmla="*/ 11309326 w 12192001"/>
              <a:gd name="connsiteY26" fmla="*/ 1274846 h 2344739"/>
              <a:gd name="connsiteX27" fmla="*/ 11245526 w 12192001"/>
              <a:gd name="connsiteY27" fmla="*/ 1274060 h 2344739"/>
              <a:gd name="connsiteX28" fmla="*/ 11227161 w 12192001"/>
              <a:gd name="connsiteY28" fmla="*/ 1276236 h 2344739"/>
              <a:gd name="connsiteX29" fmla="*/ 11216939 w 12192001"/>
              <a:gd name="connsiteY29" fmla="*/ 1275961 h 2344739"/>
              <a:gd name="connsiteX30" fmla="*/ 11216036 w 12192001"/>
              <a:gd name="connsiteY30" fmla="*/ 1275018 h 2344739"/>
              <a:gd name="connsiteX31" fmla="*/ 11187737 w 12192001"/>
              <a:gd name="connsiteY31" fmla="*/ 1292383 h 2344739"/>
              <a:gd name="connsiteX32" fmla="*/ 11183353 w 12192001"/>
              <a:gd name="connsiteY32" fmla="*/ 1292525 h 2344739"/>
              <a:gd name="connsiteX33" fmla="*/ 11165706 w 12192001"/>
              <a:gd name="connsiteY33" fmla="*/ 1306612 h 2344739"/>
              <a:gd name="connsiteX34" fmla="*/ 11156163 w 12192001"/>
              <a:gd name="connsiteY34" fmla="*/ 1312414 h 2344739"/>
              <a:gd name="connsiteX35" fmla="*/ 11154348 w 12192001"/>
              <a:gd name="connsiteY35" fmla="*/ 1317097 h 2344739"/>
              <a:gd name="connsiteX36" fmla="*/ 11139813 w 12192001"/>
              <a:gd name="connsiteY36" fmla="*/ 1324115 h 2344739"/>
              <a:gd name="connsiteX37" fmla="*/ 11137813 w 12192001"/>
              <a:gd name="connsiteY37" fmla="*/ 1323772 h 2344739"/>
              <a:gd name="connsiteX38" fmla="*/ 11127060 w 12192001"/>
              <a:gd name="connsiteY38" fmla="*/ 1333832 h 2344739"/>
              <a:gd name="connsiteX39" fmla="*/ 11119543 w 12192001"/>
              <a:gd name="connsiteY39" fmla="*/ 1347424 h 2344739"/>
              <a:gd name="connsiteX40" fmla="*/ 10893535 w 12192001"/>
              <a:gd name="connsiteY40" fmla="*/ 1473399 h 2344739"/>
              <a:gd name="connsiteX41" fmla="*/ 10772152 w 12192001"/>
              <a:gd name="connsiteY41" fmla="*/ 1523191 h 2344739"/>
              <a:gd name="connsiteX42" fmla="*/ 10626520 w 12192001"/>
              <a:gd name="connsiteY42" fmla="*/ 1559229 h 2344739"/>
              <a:gd name="connsiteX43" fmla="*/ 10580747 w 12192001"/>
              <a:gd name="connsiteY43" fmla="*/ 1568689 h 2344739"/>
              <a:gd name="connsiteX44" fmla="*/ 10546642 w 12192001"/>
              <a:gd name="connsiteY44" fmla="*/ 1598423 h 2344739"/>
              <a:gd name="connsiteX45" fmla="*/ 10528495 w 12192001"/>
              <a:gd name="connsiteY45" fmla="*/ 1596907 h 2344739"/>
              <a:gd name="connsiteX46" fmla="*/ 10525298 w 12192001"/>
              <a:gd name="connsiteY46" fmla="*/ 1596411 h 2344739"/>
              <a:gd name="connsiteX47" fmla="*/ 10513981 w 12192001"/>
              <a:gd name="connsiteY47" fmla="*/ 1599537 h 2344739"/>
              <a:gd name="connsiteX48" fmla="*/ 10490587 w 12192001"/>
              <a:gd name="connsiteY48" fmla="*/ 1594156 h 2344739"/>
              <a:gd name="connsiteX49" fmla="*/ 10470270 w 12192001"/>
              <a:gd name="connsiteY49" fmla="*/ 1601693 h 2344739"/>
              <a:gd name="connsiteX50" fmla="*/ 10375894 w 12192001"/>
              <a:gd name="connsiteY50" fmla="*/ 1644598 h 2344739"/>
              <a:gd name="connsiteX51" fmla="*/ 10318190 w 12192001"/>
              <a:gd name="connsiteY51" fmla="*/ 1666221 h 2344739"/>
              <a:gd name="connsiteX52" fmla="*/ 10294319 w 12192001"/>
              <a:gd name="connsiteY52" fmla="*/ 1668079 h 2344739"/>
              <a:gd name="connsiteX53" fmla="*/ 10262295 w 12192001"/>
              <a:gd name="connsiteY53" fmla="*/ 1674948 h 2344739"/>
              <a:gd name="connsiteX54" fmla="*/ 10204270 w 12192001"/>
              <a:gd name="connsiteY54" fmla="*/ 1682149 h 2344739"/>
              <a:gd name="connsiteX55" fmla="*/ 10176611 w 12192001"/>
              <a:gd name="connsiteY55" fmla="*/ 1692943 h 2344739"/>
              <a:gd name="connsiteX56" fmla="*/ 10163922 w 12192001"/>
              <a:gd name="connsiteY56" fmla="*/ 1693739 h 2344739"/>
              <a:gd name="connsiteX57" fmla="*/ 10155160 w 12192001"/>
              <a:gd name="connsiteY57" fmla="*/ 1707487 h 2344739"/>
              <a:gd name="connsiteX58" fmla="*/ 10117119 w 12192001"/>
              <a:gd name="connsiteY58" fmla="*/ 1731142 h 2344739"/>
              <a:gd name="connsiteX59" fmla="*/ 10100445 w 12192001"/>
              <a:gd name="connsiteY59" fmla="*/ 1742432 h 2344739"/>
              <a:gd name="connsiteX60" fmla="*/ 10082169 w 12192001"/>
              <a:gd name="connsiteY60" fmla="*/ 1743296 h 2344739"/>
              <a:gd name="connsiteX61" fmla="*/ 10039240 w 12192001"/>
              <a:gd name="connsiteY61" fmla="*/ 1741632 h 2344739"/>
              <a:gd name="connsiteX62" fmla="*/ 9960019 w 12192001"/>
              <a:gd name="connsiteY62" fmla="*/ 1757147 h 2344739"/>
              <a:gd name="connsiteX63" fmla="*/ 9847792 w 12192001"/>
              <a:gd name="connsiteY63" fmla="*/ 1763915 h 2344739"/>
              <a:gd name="connsiteX64" fmla="*/ 9728309 w 12192001"/>
              <a:gd name="connsiteY64" fmla="*/ 1784122 h 2344739"/>
              <a:gd name="connsiteX65" fmla="*/ 9584507 w 12192001"/>
              <a:gd name="connsiteY65" fmla="*/ 1795542 h 2344739"/>
              <a:gd name="connsiteX66" fmla="*/ 9343052 w 12192001"/>
              <a:gd name="connsiteY66" fmla="*/ 1841244 h 2344739"/>
              <a:gd name="connsiteX67" fmla="*/ 9231370 w 12192001"/>
              <a:gd name="connsiteY67" fmla="*/ 1893149 h 2344739"/>
              <a:gd name="connsiteX68" fmla="*/ 9194810 w 12192001"/>
              <a:gd name="connsiteY68" fmla="*/ 1903228 h 2344739"/>
              <a:gd name="connsiteX69" fmla="*/ 9189246 w 12192001"/>
              <a:gd name="connsiteY69" fmla="*/ 1912467 h 2344739"/>
              <a:gd name="connsiteX70" fmla="*/ 9151232 w 12192001"/>
              <a:gd name="connsiteY70" fmla="*/ 1923669 h 2344739"/>
              <a:gd name="connsiteX71" fmla="*/ 9150210 w 12192001"/>
              <a:gd name="connsiteY71" fmla="*/ 1922604 h 2344739"/>
              <a:gd name="connsiteX72" fmla="*/ 9137318 w 12192001"/>
              <a:gd name="connsiteY72" fmla="*/ 1920435 h 2344739"/>
              <a:gd name="connsiteX73" fmla="*/ 9113812 w 12192001"/>
              <a:gd name="connsiteY73" fmla="*/ 1919069 h 2344739"/>
              <a:gd name="connsiteX74" fmla="*/ 9053453 w 12192001"/>
              <a:gd name="connsiteY74" fmla="*/ 1910755 h 2344739"/>
              <a:gd name="connsiteX75" fmla="*/ 9005486 w 12192001"/>
              <a:gd name="connsiteY75" fmla="*/ 1914040 h 2344739"/>
              <a:gd name="connsiteX76" fmla="*/ 9005201 w 12192001"/>
              <a:gd name="connsiteY76" fmla="*/ 1913800 h 2344739"/>
              <a:gd name="connsiteX77" fmla="*/ 8996232 w 12192001"/>
              <a:gd name="connsiteY77" fmla="*/ 1915011 h 2344739"/>
              <a:gd name="connsiteX78" fmla="*/ 8990394 w 12192001"/>
              <a:gd name="connsiteY78" fmla="*/ 1917072 h 2344739"/>
              <a:gd name="connsiteX79" fmla="*/ 8974337 w 12192001"/>
              <a:gd name="connsiteY79" fmla="*/ 1920298 h 2344739"/>
              <a:gd name="connsiteX80" fmla="*/ 8968011 w 12192001"/>
              <a:gd name="connsiteY80" fmla="*/ 1919598 h 2344739"/>
              <a:gd name="connsiteX81" fmla="*/ 8963048 w 12192001"/>
              <a:gd name="connsiteY81" fmla="*/ 1917373 h 2344739"/>
              <a:gd name="connsiteX82" fmla="*/ 8928988 w 12192001"/>
              <a:gd name="connsiteY82" fmla="*/ 1914185 h 2344739"/>
              <a:gd name="connsiteX83" fmla="*/ 8752444 w 12192001"/>
              <a:gd name="connsiteY83" fmla="*/ 1933417 h 2344739"/>
              <a:gd name="connsiteX84" fmla="*/ 8707847 w 12192001"/>
              <a:gd name="connsiteY84" fmla="*/ 1935518 h 2344739"/>
              <a:gd name="connsiteX85" fmla="*/ 8596071 w 12192001"/>
              <a:gd name="connsiteY85" fmla="*/ 1944090 h 2344739"/>
              <a:gd name="connsiteX86" fmla="*/ 8525230 w 12192001"/>
              <a:gd name="connsiteY86" fmla="*/ 1929248 h 2344739"/>
              <a:gd name="connsiteX87" fmla="*/ 8510983 w 12192001"/>
              <a:gd name="connsiteY87" fmla="*/ 1935163 h 2344739"/>
              <a:gd name="connsiteX88" fmla="*/ 8506167 w 12192001"/>
              <a:gd name="connsiteY88" fmla="*/ 1938164 h 2344739"/>
              <a:gd name="connsiteX89" fmla="*/ 8497968 w 12192001"/>
              <a:gd name="connsiteY89" fmla="*/ 1940902 h 2344739"/>
              <a:gd name="connsiteX90" fmla="*/ 8497594 w 12192001"/>
              <a:gd name="connsiteY90" fmla="*/ 1940723 h 2344739"/>
              <a:gd name="connsiteX91" fmla="*/ 8490249 w 12192001"/>
              <a:gd name="connsiteY91" fmla="*/ 1943773 h 2344739"/>
              <a:gd name="connsiteX92" fmla="*/ 8367182 w 12192001"/>
              <a:gd name="connsiteY92" fmla="*/ 1957815 h 2344739"/>
              <a:gd name="connsiteX93" fmla="*/ 8353799 w 12192001"/>
              <a:gd name="connsiteY93" fmla="*/ 1958009 h 2344739"/>
              <a:gd name="connsiteX94" fmla="*/ 8352373 w 12192001"/>
              <a:gd name="connsiteY94" fmla="*/ 1957169 h 2344739"/>
              <a:gd name="connsiteX95" fmla="*/ 8320104 w 12192001"/>
              <a:gd name="connsiteY95" fmla="*/ 1974587 h 2344739"/>
              <a:gd name="connsiteX96" fmla="*/ 8314433 w 12192001"/>
              <a:gd name="connsiteY96" fmla="*/ 1974913 h 2344739"/>
              <a:gd name="connsiteX97" fmla="*/ 8295174 w 12192001"/>
              <a:gd name="connsiteY97" fmla="*/ 1988808 h 2344739"/>
              <a:gd name="connsiteX98" fmla="*/ 8284276 w 12192001"/>
              <a:gd name="connsiteY98" fmla="*/ 1994631 h 2344739"/>
              <a:gd name="connsiteX99" fmla="*/ 8283150 w 12192001"/>
              <a:gd name="connsiteY99" fmla="*/ 1999074 h 2344739"/>
              <a:gd name="connsiteX100" fmla="*/ 8266076 w 12192001"/>
              <a:gd name="connsiteY100" fmla="*/ 2006249 h 2344739"/>
              <a:gd name="connsiteX101" fmla="*/ 8263377 w 12192001"/>
              <a:gd name="connsiteY101" fmla="*/ 2006019 h 2344739"/>
              <a:gd name="connsiteX102" fmla="*/ 8252033 w 12192001"/>
              <a:gd name="connsiteY102" fmla="*/ 2015862 h 2344739"/>
              <a:gd name="connsiteX103" fmla="*/ 8245834 w 12192001"/>
              <a:gd name="connsiteY103" fmla="*/ 2028854 h 2344739"/>
              <a:gd name="connsiteX104" fmla="*/ 8090272 w 12192001"/>
              <a:gd name="connsiteY104" fmla="*/ 2075015 h 2344739"/>
              <a:gd name="connsiteX105" fmla="*/ 7905407 w 12192001"/>
              <a:gd name="connsiteY105" fmla="*/ 2116988 h 2344739"/>
              <a:gd name="connsiteX106" fmla="*/ 7718745 w 12192001"/>
              <a:gd name="connsiteY106" fmla="*/ 2142703 h 2344739"/>
              <a:gd name="connsiteX107" fmla="*/ 7614347 w 12192001"/>
              <a:gd name="connsiteY107" fmla="*/ 2139232 h 2344739"/>
              <a:gd name="connsiteX108" fmla="*/ 7527543 w 12192001"/>
              <a:gd name="connsiteY108" fmla="*/ 2145060 h 2344739"/>
              <a:gd name="connsiteX109" fmla="*/ 7519571 w 12192001"/>
              <a:gd name="connsiteY109" fmla="*/ 2147613 h 2344739"/>
              <a:gd name="connsiteX110" fmla="*/ 7507411 w 12192001"/>
              <a:gd name="connsiteY110" fmla="*/ 2148948 h 2344739"/>
              <a:gd name="connsiteX111" fmla="*/ 7507040 w 12192001"/>
              <a:gd name="connsiteY111" fmla="*/ 2148621 h 2344739"/>
              <a:gd name="connsiteX112" fmla="*/ 7495795 w 12192001"/>
              <a:gd name="connsiteY112" fmla="*/ 2150573 h 2344739"/>
              <a:gd name="connsiteX113" fmla="*/ 7405391 w 12192001"/>
              <a:gd name="connsiteY113" fmla="*/ 2142468 h 2344739"/>
              <a:gd name="connsiteX114" fmla="*/ 7312180 w 12192001"/>
              <a:gd name="connsiteY114" fmla="*/ 2132873 h 2344739"/>
              <a:gd name="connsiteX115" fmla="*/ 7310853 w 12192001"/>
              <a:gd name="connsiteY115" fmla="*/ 2131431 h 2344739"/>
              <a:gd name="connsiteX116" fmla="*/ 7218559 w 12192001"/>
              <a:gd name="connsiteY116" fmla="*/ 2156680 h 2344739"/>
              <a:gd name="connsiteX117" fmla="*/ 7201101 w 12192001"/>
              <a:gd name="connsiteY117" fmla="*/ 2161230 h 2344739"/>
              <a:gd name="connsiteX118" fmla="*/ 7197004 w 12192001"/>
              <a:gd name="connsiteY118" fmla="*/ 2166588 h 2344739"/>
              <a:gd name="connsiteX119" fmla="*/ 7170808 w 12192001"/>
              <a:gd name="connsiteY119" fmla="*/ 2171236 h 2344739"/>
              <a:gd name="connsiteX120" fmla="*/ 7096988 w 12192001"/>
              <a:gd name="connsiteY120" fmla="*/ 2183464 h 2344739"/>
              <a:gd name="connsiteX121" fmla="*/ 7018496 w 12192001"/>
              <a:gd name="connsiteY121" fmla="*/ 2183090 h 2344739"/>
              <a:gd name="connsiteX122" fmla="*/ 6904146 w 12192001"/>
              <a:gd name="connsiteY122" fmla="*/ 2212596 h 2344739"/>
              <a:gd name="connsiteX123" fmla="*/ 6708222 w 12192001"/>
              <a:gd name="connsiteY123" fmla="*/ 2240551 h 2344739"/>
              <a:gd name="connsiteX124" fmla="*/ 6549454 w 12192001"/>
              <a:gd name="connsiteY124" fmla="*/ 2269327 h 2344739"/>
              <a:gd name="connsiteX125" fmla="*/ 6317560 w 12192001"/>
              <a:gd name="connsiteY125" fmla="*/ 2316127 h 2344739"/>
              <a:gd name="connsiteX126" fmla="*/ 6168674 w 12192001"/>
              <a:gd name="connsiteY126" fmla="*/ 2318214 h 2344739"/>
              <a:gd name="connsiteX127" fmla="*/ 6073848 w 12192001"/>
              <a:gd name="connsiteY127" fmla="*/ 2338676 h 2344739"/>
              <a:gd name="connsiteX128" fmla="*/ 6068529 w 12192001"/>
              <a:gd name="connsiteY128" fmla="*/ 2337139 h 2344739"/>
              <a:gd name="connsiteX129" fmla="*/ 6048638 w 12192001"/>
              <a:gd name="connsiteY129" fmla="*/ 2337822 h 2344739"/>
              <a:gd name="connsiteX130" fmla="*/ 6041285 w 12192001"/>
              <a:gd name="connsiteY130" fmla="*/ 2329473 h 2344739"/>
              <a:gd name="connsiteX131" fmla="*/ 6010090 w 12192001"/>
              <a:gd name="connsiteY131" fmla="*/ 2324380 h 2344739"/>
              <a:gd name="connsiteX132" fmla="*/ 5957375 w 12192001"/>
              <a:gd name="connsiteY132" fmla="*/ 2328024 h 2344739"/>
              <a:gd name="connsiteX133" fmla="*/ 5758919 w 12192001"/>
              <a:gd name="connsiteY133" fmla="*/ 2343716 h 2344739"/>
              <a:gd name="connsiteX134" fmla="*/ 5626960 w 12192001"/>
              <a:gd name="connsiteY134" fmla="*/ 2344739 h 2344739"/>
              <a:gd name="connsiteX135" fmla="*/ 5470906 w 12192001"/>
              <a:gd name="connsiteY135" fmla="*/ 2330719 h 2344739"/>
              <a:gd name="connsiteX136" fmla="*/ 5432761 w 12192001"/>
              <a:gd name="connsiteY136" fmla="*/ 2319466 h 2344739"/>
              <a:gd name="connsiteX137" fmla="*/ 5381669 w 12192001"/>
              <a:gd name="connsiteY137" fmla="*/ 2301764 h 2344739"/>
              <a:gd name="connsiteX138" fmla="*/ 5261764 w 12192001"/>
              <a:gd name="connsiteY138" fmla="*/ 2281347 h 2344739"/>
              <a:gd name="connsiteX139" fmla="*/ 5222961 w 12192001"/>
              <a:gd name="connsiteY139" fmla="*/ 2270223 h 2344739"/>
              <a:gd name="connsiteX140" fmla="*/ 5174660 w 12192001"/>
              <a:gd name="connsiteY140" fmla="*/ 2267233 h 2344739"/>
              <a:gd name="connsiteX141" fmla="*/ 5156554 w 12192001"/>
              <a:gd name="connsiteY141" fmla="*/ 2260010 h 2344739"/>
              <a:gd name="connsiteX142" fmla="*/ 5142599 w 12192001"/>
              <a:gd name="connsiteY142" fmla="*/ 2256610 h 2344739"/>
              <a:gd name="connsiteX143" fmla="*/ 5139596 w 12192001"/>
              <a:gd name="connsiteY143" fmla="*/ 2254509 h 2344739"/>
              <a:gd name="connsiteX144" fmla="*/ 5121659 w 12192001"/>
              <a:gd name="connsiteY144" fmla="*/ 2243656 h 2344739"/>
              <a:gd name="connsiteX145" fmla="*/ 5065790 w 12192001"/>
              <a:gd name="connsiteY145" fmla="*/ 2250227 h 2344739"/>
              <a:gd name="connsiteX146" fmla="*/ 5011514 w 12192001"/>
              <a:gd name="connsiteY146" fmla="*/ 2233846 h 2344739"/>
              <a:gd name="connsiteX147" fmla="*/ 4840441 w 12192001"/>
              <a:gd name="connsiteY147" fmla="*/ 2209829 h 2344739"/>
              <a:gd name="connsiteX148" fmla="*/ 4762447 w 12192001"/>
              <a:gd name="connsiteY148" fmla="*/ 2182061 h 2344739"/>
              <a:gd name="connsiteX149" fmla="*/ 4723186 w 12192001"/>
              <a:gd name="connsiteY149" fmla="*/ 2173047 h 2344739"/>
              <a:gd name="connsiteX150" fmla="*/ 4721176 w 12192001"/>
              <a:gd name="connsiteY150" fmla="*/ 2172298 h 2344739"/>
              <a:gd name="connsiteX151" fmla="*/ 4722111 w 12192001"/>
              <a:gd name="connsiteY151" fmla="*/ 2172087 h 2344739"/>
              <a:gd name="connsiteX152" fmla="*/ 4717202 w 12192001"/>
              <a:gd name="connsiteY152" fmla="*/ 2170817 h 2344739"/>
              <a:gd name="connsiteX153" fmla="*/ 4721176 w 12192001"/>
              <a:gd name="connsiteY153" fmla="*/ 2172298 h 2344739"/>
              <a:gd name="connsiteX154" fmla="*/ 4715526 w 12192001"/>
              <a:gd name="connsiteY154" fmla="*/ 2173573 h 2344739"/>
              <a:gd name="connsiteX155" fmla="*/ 4515814 w 12192001"/>
              <a:gd name="connsiteY155" fmla="*/ 2163671 h 2344739"/>
              <a:gd name="connsiteX156" fmla="*/ 4428543 w 12192001"/>
              <a:gd name="connsiteY156" fmla="*/ 2153020 h 2344739"/>
              <a:gd name="connsiteX157" fmla="*/ 4362875 w 12192001"/>
              <a:gd name="connsiteY157" fmla="*/ 2151674 h 2344739"/>
              <a:gd name="connsiteX158" fmla="*/ 4316966 w 12192001"/>
              <a:gd name="connsiteY158" fmla="*/ 2158289 h 2344739"/>
              <a:gd name="connsiteX159" fmla="*/ 4315110 w 12192001"/>
              <a:gd name="connsiteY159" fmla="*/ 2156948 h 2344739"/>
              <a:gd name="connsiteX160" fmla="*/ 4295144 w 12192001"/>
              <a:gd name="connsiteY160" fmla="*/ 2155069 h 2344739"/>
              <a:gd name="connsiteX161" fmla="*/ 4290064 w 12192001"/>
              <a:gd name="connsiteY161" fmla="*/ 2157986 h 2344739"/>
              <a:gd name="connsiteX162" fmla="*/ 4276142 w 12192001"/>
              <a:gd name="connsiteY162" fmla="*/ 2157740 h 2344739"/>
              <a:gd name="connsiteX163" fmla="*/ 4248117 w 12192001"/>
              <a:gd name="connsiteY163" fmla="*/ 2160064 h 2344739"/>
              <a:gd name="connsiteX164" fmla="*/ 4202051 w 12192001"/>
              <a:gd name="connsiteY164" fmla="*/ 2157269 h 2344739"/>
              <a:gd name="connsiteX165" fmla="*/ 4201745 w 12192001"/>
              <a:gd name="connsiteY165" fmla="*/ 2156010 h 2344739"/>
              <a:gd name="connsiteX166" fmla="*/ 4191248 w 12192001"/>
              <a:gd name="connsiteY166" fmla="*/ 2150376 h 2344739"/>
              <a:gd name="connsiteX167" fmla="*/ 4142745 w 12192001"/>
              <a:gd name="connsiteY167" fmla="*/ 2134511 h 2344739"/>
              <a:gd name="connsiteX168" fmla="*/ 4083097 w 12192001"/>
              <a:gd name="connsiteY168" fmla="*/ 2107978 h 2344739"/>
              <a:gd name="connsiteX169" fmla="*/ 4074546 w 12192001"/>
              <a:gd name="connsiteY169" fmla="*/ 2107143 h 2344739"/>
              <a:gd name="connsiteX170" fmla="*/ 4074427 w 12192001"/>
              <a:gd name="connsiteY170" fmla="*/ 2106844 h 2344739"/>
              <a:gd name="connsiteX171" fmla="*/ 4065510 w 12192001"/>
              <a:gd name="connsiteY171" fmla="*/ 2105400 h 2344739"/>
              <a:gd name="connsiteX172" fmla="*/ 4058954 w 12192001"/>
              <a:gd name="connsiteY172" fmla="*/ 2105618 h 2344739"/>
              <a:gd name="connsiteX173" fmla="*/ 4042364 w 12192001"/>
              <a:gd name="connsiteY173" fmla="*/ 2103997 h 2344739"/>
              <a:gd name="connsiteX174" fmla="*/ 4036997 w 12192001"/>
              <a:gd name="connsiteY174" fmla="*/ 2101563 h 2344739"/>
              <a:gd name="connsiteX175" fmla="*/ 4035363 w 12192001"/>
              <a:gd name="connsiteY175" fmla="*/ 2097896 h 2344739"/>
              <a:gd name="connsiteX176" fmla="*/ 4033778 w 12192001"/>
              <a:gd name="connsiteY176" fmla="*/ 2098131 h 2344739"/>
              <a:gd name="connsiteX177" fmla="*/ 4004538 w 12192001"/>
              <a:gd name="connsiteY177" fmla="*/ 2085563 h 2344739"/>
              <a:gd name="connsiteX178" fmla="*/ 3936846 w 12192001"/>
              <a:gd name="connsiteY178" fmla="*/ 2068106 h 2344739"/>
              <a:gd name="connsiteX179" fmla="*/ 3897275 w 12192001"/>
              <a:gd name="connsiteY179" fmla="*/ 2062451 h 2344739"/>
              <a:gd name="connsiteX180" fmla="*/ 3789760 w 12192001"/>
              <a:gd name="connsiteY180" fmla="*/ 2042213 h 2344739"/>
              <a:gd name="connsiteX181" fmla="*/ 3682513 w 12192001"/>
              <a:gd name="connsiteY181" fmla="*/ 2018290 h 2344739"/>
              <a:gd name="connsiteX182" fmla="*/ 3610035 w 12192001"/>
              <a:gd name="connsiteY182" fmla="*/ 1986019 h 2344739"/>
              <a:gd name="connsiteX183" fmla="*/ 3603855 w 12192001"/>
              <a:gd name="connsiteY183" fmla="*/ 1987381 h 2344739"/>
              <a:gd name="connsiteX184" fmla="*/ 3594736 w 12192001"/>
              <a:gd name="connsiteY184" fmla="*/ 1987545 h 2344739"/>
              <a:gd name="connsiteX185" fmla="*/ 3594501 w 12192001"/>
              <a:gd name="connsiteY185" fmla="*/ 1987276 h 2344739"/>
              <a:gd name="connsiteX186" fmla="*/ 3585978 w 12192001"/>
              <a:gd name="connsiteY186" fmla="*/ 1987966 h 2344739"/>
              <a:gd name="connsiteX187" fmla="*/ 3536135 w 12192001"/>
              <a:gd name="connsiteY187" fmla="*/ 1978267 h 2344739"/>
              <a:gd name="connsiteX188" fmla="*/ 3473223 w 12192001"/>
              <a:gd name="connsiteY188" fmla="*/ 1974606 h 2344739"/>
              <a:gd name="connsiteX189" fmla="*/ 3400728 w 12192001"/>
              <a:gd name="connsiteY189" fmla="*/ 1962558 h 2344739"/>
              <a:gd name="connsiteX190" fmla="*/ 3363888 w 12192001"/>
              <a:gd name="connsiteY190" fmla="*/ 1979510 h 2344739"/>
              <a:gd name="connsiteX191" fmla="*/ 3344026 w 12192001"/>
              <a:gd name="connsiteY191" fmla="*/ 1981192 h 2344739"/>
              <a:gd name="connsiteX192" fmla="*/ 3341698 w 12192001"/>
              <a:gd name="connsiteY192" fmla="*/ 1980217 h 2344739"/>
              <a:gd name="connsiteX193" fmla="*/ 3262356 w 12192001"/>
              <a:gd name="connsiteY193" fmla="*/ 1986094 h 2344739"/>
              <a:gd name="connsiteX194" fmla="*/ 3142556 w 12192001"/>
              <a:gd name="connsiteY194" fmla="*/ 1993869 h 2344739"/>
              <a:gd name="connsiteX195" fmla="*/ 3030291 w 12192001"/>
              <a:gd name="connsiteY195" fmla="*/ 1996512 h 2344739"/>
              <a:gd name="connsiteX196" fmla="*/ 2781569 w 12192001"/>
              <a:gd name="connsiteY196" fmla="*/ 2018333 h 2344739"/>
              <a:gd name="connsiteX197" fmla="*/ 2646527 w 12192001"/>
              <a:gd name="connsiteY197" fmla="*/ 2028869 h 2344739"/>
              <a:gd name="connsiteX198" fmla="*/ 2568028 w 12192001"/>
              <a:gd name="connsiteY198" fmla="*/ 2002628 h 2344739"/>
              <a:gd name="connsiteX199" fmla="*/ 2443255 w 12192001"/>
              <a:gd name="connsiteY199" fmla="*/ 2016529 h 2344739"/>
              <a:gd name="connsiteX200" fmla="*/ 2315112 w 12192001"/>
              <a:gd name="connsiteY200" fmla="*/ 2024996 h 2344739"/>
              <a:gd name="connsiteX201" fmla="*/ 2208578 w 12192001"/>
              <a:gd name="connsiteY201" fmla="*/ 2019763 h 2344739"/>
              <a:gd name="connsiteX202" fmla="*/ 2094665 w 12192001"/>
              <a:gd name="connsiteY202" fmla="*/ 2003052 h 2344739"/>
              <a:gd name="connsiteX203" fmla="*/ 1997356 w 12192001"/>
              <a:gd name="connsiteY203" fmla="*/ 1995032 h 2344739"/>
              <a:gd name="connsiteX204" fmla="*/ 1928172 w 12192001"/>
              <a:gd name="connsiteY204" fmla="*/ 2016977 h 2344739"/>
              <a:gd name="connsiteX205" fmla="*/ 1921650 w 12192001"/>
              <a:gd name="connsiteY205" fmla="*/ 2012146 h 2344739"/>
              <a:gd name="connsiteX206" fmla="*/ 1873080 w 12192001"/>
              <a:gd name="connsiteY206" fmla="*/ 2013741 h 2344739"/>
              <a:gd name="connsiteX207" fmla="*/ 1786655 w 12192001"/>
              <a:gd name="connsiteY207" fmla="*/ 2041363 h 2344739"/>
              <a:gd name="connsiteX208" fmla="*/ 1738204 w 12192001"/>
              <a:gd name="connsiteY208" fmla="*/ 2036312 h 2344739"/>
              <a:gd name="connsiteX209" fmla="*/ 1675071 w 12192001"/>
              <a:gd name="connsiteY209" fmla="*/ 2019963 h 2344739"/>
              <a:gd name="connsiteX210" fmla="*/ 1608669 w 12192001"/>
              <a:gd name="connsiteY210" fmla="*/ 2013066 h 2344739"/>
              <a:gd name="connsiteX211" fmla="*/ 1496110 w 12192001"/>
              <a:gd name="connsiteY211" fmla="*/ 1987476 h 2344739"/>
              <a:gd name="connsiteX212" fmla="*/ 1149979 w 12192001"/>
              <a:gd name="connsiteY212" fmla="*/ 1938041 h 2344739"/>
              <a:gd name="connsiteX213" fmla="*/ 858269 w 12192001"/>
              <a:gd name="connsiteY213" fmla="*/ 1928608 h 2344739"/>
              <a:gd name="connsiteX214" fmla="*/ 837540 w 12192001"/>
              <a:gd name="connsiteY214" fmla="*/ 1929821 h 2344739"/>
              <a:gd name="connsiteX215" fmla="*/ 816809 w 12192001"/>
              <a:gd name="connsiteY215" fmla="*/ 1927857 h 2344739"/>
              <a:gd name="connsiteX216" fmla="*/ 811506 w 12192001"/>
              <a:gd name="connsiteY216" fmla="*/ 1930751 h 2344739"/>
              <a:gd name="connsiteX217" fmla="*/ 797041 w 12192001"/>
              <a:gd name="connsiteY217" fmla="*/ 1930446 h 2344739"/>
              <a:gd name="connsiteX218" fmla="*/ 767901 w 12192001"/>
              <a:gd name="connsiteY218" fmla="*/ 1932653 h 2344739"/>
              <a:gd name="connsiteX219" fmla="*/ 763053 w 12192001"/>
              <a:gd name="connsiteY219" fmla="*/ 1930432 h 2344739"/>
              <a:gd name="connsiteX220" fmla="*/ 720047 w 12192001"/>
              <a:gd name="connsiteY220" fmla="*/ 1929661 h 2344739"/>
              <a:gd name="connsiteX221" fmla="*/ 719742 w 12192001"/>
              <a:gd name="connsiteY221" fmla="*/ 1928399 h 2344739"/>
              <a:gd name="connsiteX222" fmla="*/ 708875 w 12192001"/>
              <a:gd name="connsiteY222" fmla="*/ 1922722 h 2344739"/>
              <a:gd name="connsiteX223" fmla="*/ 596792 w 12192001"/>
              <a:gd name="connsiteY223" fmla="*/ 1879864 h 2344739"/>
              <a:gd name="connsiteX224" fmla="*/ 578535 w 12192001"/>
              <a:gd name="connsiteY224" fmla="*/ 1877212 h 2344739"/>
              <a:gd name="connsiteX225" fmla="*/ 571717 w 12192001"/>
              <a:gd name="connsiteY225" fmla="*/ 1877401 h 2344739"/>
              <a:gd name="connsiteX226" fmla="*/ 445099 w 12192001"/>
              <a:gd name="connsiteY226" fmla="*/ 1839371 h 2344739"/>
              <a:gd name="connsiteX227" fmla="*/ 404015 w 12192001"/>
              <a:gd name="connsiteY227" fmla="*/ 1833548 h 2344739"/>
              <a:gd name="connsiteX228" fmla="*/ 292435 w 12192001"/>
              <a:gd name="connsiteY228" fmla="*/ 1812852 h 2344739"/>
              <a:gd name="connsiteX229" fmla="*/ 118381 w 12192001"/>
              <a:gd name="connsiteY229" fmla="*/ 1761047 h 2344739"/>
              <a:gd name="connsiteX230" fmla="*/ 15526 w 12192001"/>
              <a:gd name="connsiteY230" fmla="*/ 1758191 h 2344739"/>
              <a:gd name="connsiteX231" fmla="*/ 2 w 12192001"/>
              <a:gd name="connsiteY231" fmla="*/ 1752722 h 2344739"/>
              <a:gd name="connsiteX232" fmla="*/ 1 w 12192001"/>
              <a:gd name="connsiteY232" fmla="*/ 762497 h 2344739"/>
              <a:gd name="connsiteX233" fmla="*/ 0 w 12192001"/>
              <a:gd name="connsiteY233" fmla="*/ 762497 h 2344739"/>
              <a:gd name="connsiteX234" fmla="*/ 0 w 12192001"/>
              <a:gd name="connsiteY234" fmla="*/ 222213 h 2344739"/>
              <a:gd name="connsiteX235" fmla="*/ 0 w 12192001"/>
              <a:gd name="connsiteY235"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306392 w 12192001"/>
              <a:gd name="connsiteY25" fmla="*/ 1272239 h 2344739"/>
              <a:gd name="connsiteX26" fmla="*/ 11415912 w 12192001"/>
              <a:gd name="connsiteY26" fmla="*/ 1173869 h 2344739"/>
              <a:gd name="connsiteX27" fmla="*/ 11245526 w 12192001"/>
              <a:gd name="connsiteY27" fmla="*/ 1274060 h 2344739"/>
              <a:gd name="connsiteX28" fmla="*/ 11227161 w 12192001"/>
              <a:gd name="connsiteY28" fmla="*/ 1276236 h 2344739"/>
              <a:gd name="connsiteX29" fmla="*/ 11216939 w 12192001"/>
              <a:gd name="connsiteY29" fmla="*/ 1275961 h 2344739"/>
              <a:gd name="connsiteX30" fmla="*/ 11216036 w 12192001"/>
              <a:gd name="connsiteY30" fmla="*/ 1275018 h 2344739"/>
              <a:gd name="connsiteX31" fmla="*/ 11187737 w 12192001"/>
              <a:gd name="connsiteY31" fmla="*/ 1292383 h 2344739"/>
              <a:gd name="connsiteX32" fmla="*/ 11183353 w 12192001"/>
              <a:gd name="connsiteY32" fmla="*/ 1292525 h 2344739"/>
              <a:gd name="connsiteX33" fmla="*/ 11165706 w 12192001"/>
              <a:gd name="connsiteY33" fmla="*/ 1306612 h 2344739"/>
              <a:gd name="connsiteX34" fmla="*/ 11156163 w 12192001"/>
              <a:gd name="connsiteY34" fmla="*/ 1312414 h 2344739"/>
              <a:gd name="connsiteX35" fmla="*/ 11154348 w 12192001"/>
              <a:gd name="connsiteY35" fmla="*/ 1317097 h 2344739"/>
              <a:gd name="connsiteX36" fmla="*/ 11139813 w 12192001"/>
              <a:gd name="connsiteY36" fmla="*/ 1324115 h 2344739"/>
              <a:gd name="connsiteX37" fmla="*/ 11137813 w 12192001"/>
              <a:gd name="connsiteY37" fmla="*/ 1323772 h 2344739"/>
              <a:gd name="connsiteX38" fmla="*/ 11127060 w 12192001"/>
              <a:gd name="connsiteY38" fmla="*/ 1333832 h 2344739"/>
              <a:gd name="connsiteX39" fmla="*/ 11119543 w 12192001"/>
              <a:gd name="connsiteY39" fmla="*/ 1347424 h 2344739"/>
              <a:gd name="connsiteX40" fmla="*/ 10893535 w 12192001"/>
              <a:gd name="connsiteY40" fmla="*/ 1473399 h 2344739"/>
              <a:gd name="connsiteX41" fmla="*/ 10772152 w 12192001"/>
              <a:gd name="connsiteY41" fmla="*/ 1523191 h 2344739"/>
              <a:gd name="connsiteX42" fmla="*/ 10626520 w 12192001"/>
              <a:gd name="connsiteY42" fmla="*/ 1559229 h 2344739"/>
              <a:gd name="connsiteX43" fmla="*/ 10580747 w 12192001"/>
              <a:gd name="connsiteY43" fmla="*/ 1568689 h 2344739"/>
              <a:gd name="connsiteX44" fmla="*/ 10546642 w 12192001"/>
              <a:gd name="connsiteY44" fmla="*/ 1598423 h 2344739"/>
              <a:gd name="connsiteX45" fmla="*/ 10528495 w 12192001"/>
              <a:gd name="connsiteY45" fmla="*/ 1596907 h 2344739"/>
              <a:gd name="connsiteX46" fmla="*/ 10525298 w 12192001"/>
              <a:gd name="connsiteY46" fmla="*/ 1596411 h 2344739"/>
              <a:gd name="connsiteX47" fmla="*/ 10513981 w 12192001"/>
              <a:gd name="connsiteY47" fmla="*/ 1599537 h 2344739"/>
              <a:gd name="connsiteX48" fmla="*/ 10490587 w 12192001"/>
              <a:gd name="connsiteY48" fmla="*/ 1594156 h 2344739"/>
              <a:gd name="connsiteX49" fmla="*/ 10470270 w 12192001"/>
              <a:gd name="connsiteY49" fmla="*/ 1601693 h 2344739"/>
              <a:gd name="connsiteX50" fmla="*/ 10375894 w 12192001"/>
              <a:gd name="connsiteY50" fmla="*/ 1644598 h 2344739"/>
              <a:gd name="connsiteX51" fmla="*/ 10318190 w 12192001"/>
              <a:gd name="connsiteY51" fmla="*/ 1666221 h 2344739"/>
              <a:gd name="connsiteX52" fmla="*/ 10294319 w 12192001"/>
              <a:gd name="connsiteY52" fmla="*/ 1668079 h 2344739"/>
              <a:gd name="connsiteX53" fmla="*/ 10262295 w 12192001"/>
              <a:gd name="connsiteY53" fmla="*/ 1674948 h 2344739"/>
              <a:gd name="connsiteX54" fmla="*/ 10204270 w 12192001"/>
              <a:gd name="connsiteY54" fmla="*/ 1682149 h 2344739"/>
              <a:gd name="connsiteX55" fmla="*/ 10176611 w 12192001"/>
              <a:gd name="connsiteY55" fmla="*/ 1692943 h 2344739"/>
              <a:gd name="connsiteX56" fmla="*/ 10163922 w 12192001"/>
              <a:gd name="connsiteY56" fmla="*/ 1693739 h 2344739"/>
              <a:gd name="connsiteX57" fmla="*/ 10155160 w 12192001"/>
              <a:gd name="connsiteY57" fmla="*/ 1707487 h 2344739"/>
              <a:gd name="connsiteX58" fmla="*/ 10117119 w 12192001"/>
              <a:gd name="connsiteY58" fmla="*/ 1731142 h 2344739"/>
              <a:gd name="connsiteX59" fmla="*/ 10100445 w 12192001"/>
              <a:gd name="connsiteY59" fmla="*/ 1742432 h 2344739"/>
              <a:gd name="connsiteX60" fmla="*/ 10082169 w 12192001"/>
              <a:gd name="connsiteY60" fmla="*/ 1743296 h 2344739"/>
              <a:gd name="connsiteX61" fmla="*/ 10039240 w 12192001"/>
              <a:gd name="connsiteY61" fmla="*/ 1741632 h 2344739"/>
              <a:gd name="connsiteX62" fmla="*/ 9960019 w 12192001"/>
              <a:gd name="connsiteY62" fmla="*/ 1757147 h 2344739"/>
              <a:gd name="connsiteX63" fmla="*/ 9847792 w 12192001"/>
              <a:gd name="connsiteY63" fmla="*/ 1763915 h 2344739"/>
              <a:gd name="connsiteX64" fmla="*/ 9728309 w 12192001"/>
              <a:gd name="connsiteY64" fmla="*/ 1784122 h 2344739"/>
              <a:gd name="connsiteX65" fmla="*/ 9584507 w 12192001"/>
              <a:gd name="connsiteY65" fmla="*/ 1795542 h 2344739"/>
              <a:gd name="connsiteX66" fmla="*/ 9343052 w 12192001"/>
              <a:gd name="connsiteY66" fmla="*/ 1841244 h 2344739"/>
              <a:gd name="connsiteX67" fmla="*/ 9231370 w 12192001"/>
              <a:gd name="connsiteY67" fmla="*/ 1893149 h 2344739"/>
              <a:gd name="connsiteX68" fmla="*/ 9194810 w 12192001"/>
              <a:gd name="connsiteY68" fmla="*/ 1903228 h 2344739"/>
              <a:gd name="connsiteX69" fmla="*/ 9189246 w 12192001"/>
              <a:gd name="connsiteY69" fmla="*/ 1912467 h 2344739"/>
              <a:gd name="connsiteX70" fmla="*/ 9151232 w 12192001"/>
              <a:gd name="connsiteY70" fmla="*/ 1923669 h 2344739"/>
              <a:gd name="connsiteX71" fmla="*/ 9150210 w 12192001"/>
              <a:gd name="connsiteY71" fmla="*/ 1922604 h 2344739"/>
              <a:gd name="connsiteX72" fmla="*/ 9137318 w 12192001"/>
              <a:gd name="connsiteY72" fmla="*/ 1920435 h 2344739"/>
              <a:gd name="connsiteX73" fmla="*/ 9113812 w 12192001"/>
              <a:gd name="connsiteY73" fmla="*/ 1919069 h 2344739"/>
              <a:gd name="connsiteX74" fmla="*/ 9053453 w 12192001"/>
              <a:gd name="connsiteY74" fmla="*/ 1910755 h 2344739"/>
              <a:gd name="connsiteX75" fmla="*/ 9005486 w 12192001"/>
              <a:gd name="connsiteY75" fmla="*/ 1914040 h 2344739"/>
              <a:gd name="connsiteX76" fmla="*/ 9005201 w 12192001"/>
              <a:gd name="connsiteY76" fmla="*/ 1913800 h 2344739"/>
              <a:gd name="connsiteX77" fmla="*/ 8996232 w 12192001"/>
              <a:gd name="connsiteY77" fmla="*/ 1915011 h 2344739"/>
              <a:gd name="connsiteX78" fmla="*/ 8990394 w 12192001"/>
              <a:gd name="connsiteY78" fmla="*/ 1917072 h 2344739"/>
              <a:gd name="connsiteX79" fmla="*/ 8974337 w 12192001"/>
              <a:gd name="connsiteY79" fmla="*/ 1920298 h 2344739"/>
              <a:gd name="connsiteX80" fmla="*/ 8968011 w 12192001"/>
              <a:gd name="connsiteY80" fmla="*/ 1919598 h 2344739"/>
              <a:gd name="connsiteX81" fmla="*/ 8963048 w 12192001"/>
              <a:gd name="connsiteY81" fmla="*/ 1917373 h 2344739"/>
              <a:gd name="connsiteX82" fmla="*/ 8928988 w 12192001"/>
              <a:gd name="connsiteY82" fmla="*/ 1914185 h 2344739"/>
              <a:gd name="connsiteX83" fmla="*/ 8752444 w 12192001"/>
              <a:gd name="connsiteY83" fmla="*/ 1933417 h 2344739"/>
              <a:gd name="connsiteX84" fmla="*/ 8707847 w 12192001"/>
              <a:gd name="connsiteY84" fmla="*/ 1935518 h 2344739"/>
              <a:gd name="connsiteX85" fmla="*/ 8596071 w 12192001"/>
              <a:gd name="connsiteY85" fmla="*/ 1944090 h 2344739"/>
              <a:gd name="connsiteX86" fmla="*/ 8525230 w 12192001"/>
              <a:gd name="connsiteY86" fmla="*/ 1929248 h 2344739"/>
              <a:gd name="connsiteX87" fmla="*/ 8510983 w 12192001"/>
              <a:gd name="connsiteY87" fmla="*/ 1935163 h 2344739"/>
              <a:gd name="connsiteX88" fmla="*/ 8506167 w 12192001"/>
              <a:gd name="connsiteY88" fmla="*/ 1938164 h 2344739"/>
              <a:gd name="connsiteX89" fmla="*/ 8497968 w 12192001"/>
              <a:gd name="connsiteY89" fmla="*/ 1940902 h 2344739"/>
              <a:gd name="connsiteX90" fmla="*/ 8497594 w 12192001"/>
              <a:gd name="connsiteY90" fmla="*/ 1940723 h 2344739"/>
              <a:gd name="connsiteX91" fmla="*/ 8490249 w 12192001"/>
              <a:gd name="connsiteY91" fmla="*/ 1943773 h 2344739"/>
              <a:gd name="connsiteX92" fmla="*/ 8367182 w 12192001"/>
              <a:gd name="connsiteY92" fmla="*/ 1957815 h 2344739"/>
              <a:gd name="connsiteX93" fmla="*/ 8353799 w 12192001"/>
              <a:gd name="connsiteY93" fmla="*/ 1958009 h 2344739"/>
              <a:gd name="connsiteX94" fmla="*/ 8352373 w 12192001"/>
              <a:gd name="connsiteY94" fmla="*/ 1957169 h 2344739"/>
              <a:gd name="connsiteX95" fmla="*/ 8320104 w 12192001"/>
              <a:gd name="connsiteY95" fmla="*/ 1974587 h 2344739"/>
              <a:gd name="connsiteX96" fmla="*/ 8314433 w 12192001"/>
              <a:gd name="connsiteY96" fmla="*/ 1974913 h 2344739"/>
              <a:gd name="connsiteX97" fmla="*/ 8295174 w 12192001"/>
              <a:gd name="connsiteY97" fmla="*/ 1988808 h 2344739"/>
              <a:gd name="connsiteX98" fmla="*/ 8284276 w 12192001"/>
              <a:gd name="connsiteY98" fmla="*/ 1994631 h 2344739"/>
              <a:gd name="connsiteX99" fmla="*/ 8283150 w 12192001"/>
              <a:gd name="connsiteY99" fmla="*/ 1999074 h 2344739"/>
              <a:gd name="connsiteX100" fmla="*/ 8266076 w 12192001"/>
              <a:gd name="connsiteY100" fmla="*/ 2006249 h 2344739"/>
              <a:gd name="connsiteX101" fmla="*/ 8263377 w 12192001"/>
              <a:gd name="connsiteY101" fmla="*/ 2006019 h 2344739"/>
              <a:gd name="connsiteX102" fmla="*/ 8252033 w 12192001"/>
              <a:gd name="connsiteY102" fmla="*/ 2015862 h 2344739"/>
              <a:gd name="connsiteX103" fmla="*/ 8245834 w 12192001"/>
              <a:gd name="connsiteY103" fmla="*/ 2028854 h 2344739"/>
              <a:gd name="connsiteX104" fmla="*/ 8090272 w 12192001"/>
              <a:gd name="connsiteY104" fmla="*/ 2075015 h 2344739"/>
              <a:gd name="connsiteX105" fmla="*/ 7905407 w 12192001"/>
              <a:gd name="connsiteY105" fmla="*/ 2116988 h 2344739"/>
              <a:gd name="connsiteX106" fmla="*/ 7718745 w 12192001"/>
              <a:gd name="connsiteY106" fmla="*/ 2142703 h 2344739"/>
              <a:gd name="connsiteX107" fmla="*/ 7614347 w 12192001"/>
              <a:gd name="connsiteY107" fmla="*/ 2139232 h 2344739"/>
              <a:gd name="connsiteX108" fmla="*/ 7527543 w 12192001"/>
              <a:gd name="connsiteY108" fmla="*/ 2145060 h 2344739"/>
              <a:gd name="connsiteX109" fmla="*/ 7519571 w 12192001"/>
              <a:gd name="connsiteY109" fmla="*/ 2147613 h 2344739"/>
              <a:gd name="connsiteX110" fmla="*/ 7507411 w 12192001"/>
              <a:gd name="connsiteY110" fmla="*/ 2148948 h 2344739"/>
              <a:gd name="connsiteX111" fmla="*/ 7507040 w 12192001"/>
              <a:gd name="connsiteY111" fmla="*/ 2148621 h 2344739"/>
              <a:gd name="connsiteX112" fmla="*/ 7495795 w 12192001"/>
              <a:gd name="connsiteY112" fmla="*/ 2150573 h 2344739"/>
              <a:gd name="connsiteX113" fmla="*/ 7405391 w 12192001"/>
              <a:gd name="connsiteY113" fmla="*/ 2142468 h 2344739"/>
              <a:gd name="connsiteX114" fmla="*/ 7312180 w 12192001"/>
              <a:gd name="connsiteY114" fmla="*/ 2132873 h 2344739"/>
              <a:gd name="connsiteX115" fmla="*/ 7310853 w 12192001"/>
              <a:gd name="connsiteY115" fmla="*/ 2131431 h 2344739"/>
              <a:gd name="connsiteX116" fmla="*/ 7218559 w 12192001"/>
              <a:gd name="connsiteY116" fmla="*/ 2156680 h 2344739"/>
              <a:gd name="connsiteX117" fmla="*/ 7201101 w 12192001"/>
              <a:gd name="connsiteY117" fmla="*/ 2161230 h 2344739"/>
              <a:gd name="connsiteX118" fmla="*/ 7197004 w 12192001"/>
              <a:gd name="connsiteY118" fmla="*/ 2166588 h 2344739"/>
              <a:gd name="connsiteX119" fmla="*/ 7170808 w 12192001"/>
              <a:gd name="connsiteY119" fmla="*/ 2171236 h 2344739"/>
              <a:gd name="connsiteX120" fmla="*/ 7096988 w 12192001"/>
              <a:gd name="connsiteY120" fmla="*/ 2183464 h 2344739"/>
              <a:gd name="connsiteX121" fmla="*/ 7018496 w 12192001"/>
              <a:gd name="connsiteY121" fmla="*/ 2183090 h 2344739"/>
              <a:gd name="connsiteX122" fmla="*/ 6904146 w 12192001"/>
              <a:gd name="connsiteY122" fmla="*/ 2212596 h 2344739"/>
              <a:gd name="connsiteX123" fmla="*/ 6708222 w 12192001"/>
              <a:gd name="connsiteY123" fmla="*/ 2240551 h 2344739"/>
              <a:gd name="connsiteX124" fmla="*/ 6549454 w 12192001"/>
              <a:gd name="connsiteY124" fmla="*/ 2269327 h 2344739"/>
              <a:gd name="connsiteX125" fmla="*/ 6317560 w 12192001"/>
              <a:gd name="connsiteY125" fmla="*/ 2316127 h 2344739"/>
              <a:gd name="connsiteX126" fmla="*/ 6168674 w 12192001"/>
              <a:gd name="connsiteY126" fmla="*/ 2318214 h 2344739"/>
              <a:gd name="connsiteX127" fmla="*/ 6073848 w 12192001"/>
              <a:gd name="connsiteY127" fmla="*/ 2338676 h 2344739"/>
              <a:gd name="connsiteX128" fmla="*/ 6068529 w 12192001"/>
              <a:gd name="connsiteY128" fmla="*/ 2337139 h 2344739"/>
              <a:gd name="connsiteX129" fmla="*/ 6048638 w 12192001"/>
              <a:gd name="connsiteY129" fmla="*/ 2337822 h 2344739"/>
              <a:gd name="connsiteX130" fmla="*/ 6041285 w 12192001"/>
              <a:gd name="connsiteY130" fmla="*/ 2329473 h 2344739"/>
              <a:gd name="connsiteX131" fmla="*/ 6010090 w 12192001"/>
              <a:gd name="connsiteY131" fmla="*/ 2324380 h 2344739"/>
              <a:gd name="connsiteX132" fmla="*/ 5957375 w 12192001"/>
              <a:gd name="connsiteY132" fmla="*/ 2328024 h 2344739"/>
              <a:gd name="connsiteX133" fmla="*/ 5758919 w 12192001"/>
              <a:gd name="connsiteY133" fmla="*/ 2343716 h 2344739"/>
              <a:gd name="connsiteX134" fmla="*/ 5626960 w 12192001"/>
              <a:gd name="connsiteY134" fmla="*/ 2344739 h 2344739"/>
              <a:gd name="connsiteX135" fmla="*/ 5470906 w 12192001"/>
              <a:gd name="connsiteY135" fmla="*/ 2330719 h 2344739"/>
              <a:gd name="connsiteX136" fmla="*/ 5432761 w 12192001"/>
              <a:gd name="connsiteY136" fmla="*/ 2319466 h 2344739"/>
              <a:gd name="connsiteX137" fmla="*/ 5381669 w 12192001"/>
              <a:gd name="connsiteY137" fmla="*/ 2301764 h 2344739"/>
              <a:gd name="connsiteX138" fmla="*/ 5261764 w 12192001"/>
              <a:gd name="connsiteY138" fmla="*/ 2281347 h 2344739"/>
              <a:gd name="connsiteX139" fmla="*/ 5222961 w 12192001"/>
              <a:gd name="connsiteY139" fmla="*/ 2270223 h 2344739"/>
              <a:gd name="connsiteX140" fmla="*/ 5174660 w 12192001"/>
              <a:gd name="connsiteY140" fmla="*/ 2267233 h 2344739"/>
              <a:gd name="connsiteX141" fmla="*/ 5156554 w 12192001"/>
              <a:gd name="connsiteY141" fmla="*/ 2260010 h 2344739"/>
              <a:gd name="connsiteX142" fmla="*/ 5142599 w 12192001"/>
              <a:gd name="connsiteY142" fmla="*/ 2256610 h 2344739"/>
              <a:gd name="connsiteX143" fmla="*/ 5139596 w 12192001"/>
              <a:gd name="connsiteY143" fmla="*/ 2254509 h 2344739"/>
              <a:gd name="connsiteX144" fmla="*/ 5121659 w 12192001"/>
              <a:gd name="connsiteY144" fmla="*/ 2243656 h 2344739"/>
              <a:gd name="connsiteX145" fmla="*/ 5065790 w 12192001"/>
              <a:gd name="connsiteY145" fmla="*/ 2250227 h 2344739"/>
              <a:gd name="connsiteX146" fmla="*/ 5011514 w 12192001"/>
              <a:gd name="connsiteY146" fmla="*/ 2233846 h 2344739"/>
              <a:gd name="connsiteX147" fmla="*/ 4840441 w 12192001"/>
              <a:gd name="connsiteY147" fmla="*/ 2209829 h 2344739"/>
              <a:gd name="connsiteX148" fmla="*/ 4762447 w 12192001"/>
              <a:gd name="connsiteY148" fmla="*/ 2182061 h 2344739"/>
              <a:gd name="connsiteX149" fmla="*/ 4723186 w 12192001"/>
              <a:gd name="connsiteY149" fmla="*/ 2173047 h 2344739"/>
              <a:gd name="connsiteX150" fmla="*/ 4721176 w 12192001"/>
              <a:gd name="connsiteY150" fmla="*/ 2172298 h 2344739"/>
              <a:gd name="connsiteX151" fmla="*/ 4722111 w 12192001"/>
              <a:gd name="connsiteY151" fmla="*/ 2172087 h 2344739"/>
              <a:gd name="connsiteX152" fmla="*/ 4717202 w 12192001"/>
              <a:gd name="connsiteY152" fmla="*/ 2170817 h 2344739"/>
              <a:gd name="connsiteX153" fmla="*/ 4721176 w 12192001"/>
              <a:gd name="connsiteY153" fmla="*/ 2172298 h 2344739"/>
              <a:gd name="connsiteX154" fmla="*/ 4715526 w 12192001"/>
              <a:gd name="connsiteY154" fmla="*/ 2173573 h 2344739"/>
              <a:gd name="connsiteX155" fmla="*/ 4515814 w 12192001"/>
              <a:gd name="connsiteY155" fmla="*/ 2163671 h 2344739"/>
              <a:gd name="connsiteX156" fmla="*/ 4428543 w 12192001"/>
              <a:gd name="connsiteY156" fmla="*/ 2153020 h 2344739"/>
              <a:gd name="connsiteX157" fmla="*/ 4362875 w 12192001"/>
              <a:gd name="connsiteY157" fmla="*/ 2151674 h 2344739"/>
              <a:gd name="connsiteX158" fmla="*/ 4316966 w 12192001"/>
              <a:gd name="connsiteY158" fmla="*/ 2158289 h 2344739"/>
              <a:gd name="connsiteX159" fmla="*/ 4315110 w 12192001"/>
              <a:gd name="connsiteY159" fmla="*/ 2156948 h 2344739"/>
              <a:gd name="connsiteX160" fmla="*/ 4295144 w 12192001"/>
              <a:gd name="connsiteY160" fmla="*/ 2155069 h 2344739"/>
              <a:gd name="connsiteX161" fmla="*/ 4290064 w 12192001"/>
              <a:gd name="connsiteY161" fmla="*/ 2157986 h 2344739"/>
              <a:gd name="connsiteX162" fmla="*/ 4276142 w 12192001"/>
              <a:gd name="connsiteY162" fmla="*/ 2157740 h 2344739"/>
              <a:gd name="connsiteX163" fmla="*/ 4248117 w 12192001"/>
              <a:gd name="connsiteY163" fmla="*/ 2160064 h 2344739"/>
              <a:gd name="connsiteX164" fmla="*/ 4202051 w 12192001"/>
              <a:gd name="connsiteY164" fmla="*/ 2157269 h 2344739"/>
              <a:gd name="connsiteX165" fmla="*/ 4201745 w 12192001"/>
              <a:gd name="connsiteY165" fmla="*/ 2156010 h 2344739"/>
              <a:gd name="connsiteX166" fmla="*/ 4191248 w 12192001"/>
              <a:gd name="connsiteY166" fmla="*/ 2150376 h 2344739"/>
              <a:gd name="connsiteX167" fmla="*/ 4142745 w 12192001"/>
              <a:gd name="connsiteY167" fmla="*/ 2134511 h 2344739"/>
              <a:gd name="connsiteX168" fmla="*/ 4083097 w 12192001"/>
              <a:gd name="connsiteY168" fmla="*/ 2107978 h 2344739"/>
              <a:gd name="connsiteX169" fmla="*/ 4074546 w 12192001"/>
              <a:gd name="connsiteY169" fmla="*/ 2107143 h 2344739"/>
              <a:gd name="connsiteX170" fmla="*/ 4074427 w 12192001"/>
              <a:gd name="connsiteY170" fmla="*/ 2106844 h 2344739"/>
              <a:gd name="connsiteX171" fmla="*/ 4065510 w 12192001"/>
              <a:gd name="connsiteY171" fmla="*/ 2105400 h 2344739"/>
              <a:gd name="connsiteX172" fmla="*/ 4058954 w 12192001"/>
              <a:gd name="connsiteY172" fmla="*/ 2105618 h 2344739"/>
              <a:gd name="connsiteX173" fmla="*/ 4042364 w 12192001"/>
              <a:gd name="connsiteY173" fmla="*/ 2103997 h 2344739"/>
              <a:gd name="connsiteX174" fmla="*/ 4036997 w 12192001"/>
              <a:gd name="connsiteY174" fmla="*/ 2101563 h 2344739"/>
              <a:gd name="connsiteX175" fmla="*/ 4035363 w 12192001"/>
              <a:gd name="connsiteY175" fmla="*/ 2097896 h 2344739"/>
              <a:gd name="connsiteX176" fmla="*/ 4033778 w 12192001"/>
              <a:gd name="connsiteY176" fmla="*/ 2098131 h 2344739"/>
              <a:gd name="connsiteX177" fmla="*/ 4004538 w 12192001"/>
              <a:gd name="connsiteY177" fmla="*/ 2085563 h 2344739"/>
              <a:gd name="connsiteX178" fmla="*/ 3936846 w 12192001"/>
              <a:gd name="connsiteY178" fmla="*/ 2068106 h 2344739"/>
              <a:gd name="connsiteX179" fmla="*/ 3897275 w 12192001"/>
              <a:gd name="connsiteY179" fmla="*/ 2062451 h 2344739"/>
              <a:gd name="connsiteX180" fmla="*/ 3789760 w 12192001"/>
              <a:gd name="connsiteY180" fmla="*/ 2042213 h 2344739"/>
              <a:gd name="connsiteX181" fmla="*/ 3682513 w 12192001"/>
              <a:gd name="connsiteY181" fmla="*/ 2018290 h 2344739"/>
              <a:gd name="connsiteX182" fmla="*/ 3610035 w 12192001"/>
              <a:gd name="connsiteY182" fmla="*/ 1986019 h 2344739"/>
              <a:gd name="connsiteX183" fmla="*/ 3603855 w 12192001"/>
              <a:gd name="connsiteY183" fmla="*/ 1987381 h 2344739"/>
              <a:gd name="connsiteX184" fmla="*/ 3594736 w 12192001"/>
              <a:gd name="connsiteY184" fmla="*/ 1987545 h 2344739"/>
              <a:gd name="connsiteX185" fmla="*/ 3594501 w 12192001"/>
              <a:gd name="connsiteY185" fmla="*/ 1987276 h 2344739"/>
              <a:gd name="connsiteX186" fmla="*/ 3585978 w 12192001"/>
              <a:gd name="connsiteY186" fmla="*/ 1987966 h 2344739"/>
              <a:gd name="connsiteX187" fmla="*/ 3536135 w 12192001"/>
              <a:gd name="connsiteY187" fmla="*/ 1978267 h 2344739"/>
              <a:gd name="connsiteX188" fmla="*/ 3473223 w 12192001"/>
              <a:gd name="connsiteY188" fmla="*/ 1974606 h 2344739"/>
              <a:gd name="connsiteX189" fmla="*/ 3400728 w 12192001"/>
              <a:gd name="connsiteY189" fmla="*/ 1962558 h 2344739"/>
              <a:gd name="connsiteX190" fmla="*/ 3363888 w 12192001"/>
              <a:gd name="connsiteY190" fmla="*/ 1979510 h 2344739"/>
              <a:gd name="connsiteX191" fmla="*/ 3344026 w 12192001"/>
              <a:gd name="connsiteY191" fmla="*/ 1981192 h 2344739"/>
              <a:gd name="connsiteX192" fmla="*/ 3341698 w 12192001"/>
              <a:gd name="connsiteY192" fmla="*/ 1980217 h 2344739"/>
              <a:gd name="connsiteX193" fmla="*/ 3262356 w 12192001"/>
              <a:gd name="connsiteY193" fmla="*/ 1986094 h 2344739"/>
              <a:gd name="connsiteX194" fmla="*/ 3142556 w 12192001"/>
              <a:gd name="connsiteY194" fmla="*/ 1993869 h 2344739"/>
              <a:gd name="connsiteX195" fmla="*/ 3030291 w 12192001"/>
              <a:gd name="connsiteY195" fmla="*/ 1996512 h 2344739"/>
              <a:gd name="connsiteX196" fmla="*/ 2781569 w 12192001"/>
              <a:gd name="connsiteY196" fmla="*/ 2018333 h 2344739"/>
              <a:gd name="connsiteX197" fmla="*/ 2646527 w 12192001"/>
              <a:gd name="connsiteY197" fmla="*/ 2028869 h 2344739"/>
              <a:gd name="connsiteX198" fmla="*/ 2568028 w 12192001"/>
              <a:gd name="connsiteY198" fmla="*/ 2002628 h 2344739"/>
              <a:gd name="connsiteX199" fmla="*/ 2443255 w 12192001"/>
              <a:gd name="connsiteY199" fmla="*/ 2016529 h 2344739"/>
              <a:gd name="connsiteX200" fmla="*/ 2315112 w 12192001"/>
              <a:gd name="connsiteY200" fmla="*/ 2024996 h 2344739"/>
              <a:gd name="connsiteX201" fmla="*/ 2208578 w 12192001"/>
              <a:gd name="connsiteY201" fmla="*/ 2019763 h 2344739"/>
              <a:gd name="connsiteX202" fmla="*/ 2094665 w 12192001"/>
              <a:gd name="connsiteY202" fmla="*/ 2003052 h 2344739"/>
              <a:gd name="connsiteX203" fmla="*/ 1997356 w 12192001"/>
              <a:gd name="connsiteY203" fmla="*/ 1995032 h 2344739"/>
              <a:gd name="connsiteX204" fmla="*/ 1928172 w 12192001"/>
              <a:gd name="connsiteY204" fmla="*/ 2016977 h 2344739"/>
              <a:gd name="connsiteX205" fmla="*/ 1921650 w 12192001"/>
              <a:gd name="connsiteY205" fmla="*/ 2012146 h 2344739"/>
              <a:gd name="connsiteX206" fmla="*/ 1873080 w 12192001"/>
              <a:gd name="connsiteY206" fmla="*/ 2013741 h 2344739"/>
              <a:gd name="connsiteX207" fmla="*/ 1786655 w 12192001"/>
              <a:gd name="connsiteY207" fmla="*/ 2041363 h 2344739"/>
              <a:gd name="connsiteX208" fmla="*/ 1738204 w 12192001"/>
              <a:gd name="connsiteY208" fmla="*/ 2036312 h 2344739"/>
              <a:gd name="connsiteX209" fmla="*/ 1675071 w 12192001"/>
              <a:gd name="connsiteY209" fmla="*/ 2019963 h 2344739"/>
              <a:gd name="connsiteX210" fmla="*/ 1608669 w 12192001"/>
              <a:gd name="connsiteY210" fmla="*/ 2013066 h 2344739"/>
              <a:gd name="connsiteX211" fmla="*/ 1496110 w 12192001"/>
              <a:gd name="connsiteY211" fmla="*/ 1987476 h 2344739"/>
              <a:gd name="connsiteX212" fmla="*/ 1149979 w 12192001"/>
              <a:gd name="connsiteY212" fmla="*/ 1938041 h 2344739"/>
              <a:gd name="connsiteX213" fmla="*/ 858269 w 12192001"/>
              <a:gd name="connsiteY213" fmla="*/ 1928608 h 2344739"/>
              <a:gd name="connsiteX214" fmla="*/ 837540 w 12192001"/>
              <a:gd name="connsiteY214" fmla="*/ 1929821 h 2344739"/>
              <a:gd name="connsiteX215" fmla="*/ 816809 w 12192001"/>
              <a:gd name="connsiteY215" fmla="*/ 1927857 h 2344739"/>
              <a:gd name="connsiteX216" fmla="*/ 811506 w 12192001"/>
              <a:gd name="connsiteY216" fmla="*/ 1930751 h 2344739"/>
              <a:gd name="connsiteX217" fmla="*/ 797041 w 12192001"/>
              <a:gd name="connsiteY217" fmla="*/ 1930446 h 2344739"/>
              <a:gd name="connsiteX218" fmla="*/ 767901 w 12192001"/>
              <a:gd name="connsiteY218" fmla="*/ 1932653 h 2344739"/>
              <a:gd name="connsiteX219" fmla="*/ 763053 w 12192001"/>
              <a:gd name="connsiteY219" fmla="*/ 1930432 h 2344739"/>
              <a:gd name="connsiteX220" fmla="*/ 720047 w 12192001"/>
              <a:gd name="connsiteY220" fmla="*/ 1929661 h 2344739"/>
              <a:gd name="connsiteX221" fmla="*/ 719742 w 12192001"/>
              <a:gd name="connsiteY221" fmla="*/ 1928399 h 2344739"/>
              <a:gd name="connsiteX222" fmla="*/ 708875 w 12192001"/>
              <a:gd name="connsiteY222" fmla="*/ 1922722 h 2344739"/>
              <a:gd name="connsiteX223" fmla="*/ 596792 w 12192001"/>
              <a:gd name="connsiteY223" fmla="*/ 1879864 h 2344739"/>
              <a:gd name="connsiteX224" fmla="*/ 578535 w 12192001"/>
              <a:gd name="connsiteY224" fmla="*/ 1877212 h 2344739"/>
              <a:gd name="connsiteX225" fmla="*/ 571717 w 12192001"/>
              <a:gd name="connsiteY225" fmla="*/ 1877401 h 2344739"/>
              <a:gd name="connsiteX226" fmla="*/ 445099 w 12192001"/>
              <a:gd name="connsiteY226" fmla="*/ 1839371 h 2344739"/>
              <a:gd name="connsiteX227" fmla="*/ 404015 w 12192001"/>
              <a:gd name="connsiteY227" fmla="*/ 1833548 h 2344739"/>
              <a:gd name="connsiteX228" fmla="*/ 292435 w 12192001"/>
              <a:gd name="connsiteY228" fmla="*/ 1812852 h 2344739"/>
              <a:gd name="connsiteX229" fmla="*/ 118381 w 12192001"/>
              <a:gd name="connsiteY229" fmla="*/ 1761047 h 2344739"/>
              <a:gd name="connsiteX230" fmla="*/ 15526 w 12192001"/>
              <a:gd name="connsiteY230" fmla="*/ 1758191 h 2344739"/>
              <a:gd name="connsiteX231" fmla="*/ 2 w 12192001"/>
              <a:gd name="connsiteY231" fmla="*/ 1752722 h 2344739"/>
              <a:gd name="connsiteX232" fmla="*/ 1 w 12192001"/>
              <a:gd name="connsiteY232" fmla="*/ 762497 h 2344739"/>
              <a:gd name="connsiteX233" fmla="*/ 0 w 12192001"/>
              <a:gd name="connsiteY233" fmla="*/ 762497 h 2344739"/>
              <a:gd name="connsiteX234" fmla="*/ 0 w 12192001"/>
              <a:gd name="connsiteY234" fmla="*/ 222213 h 2344739"/>
              <a:gd name="connsiteX235" fmla="*/ 0 w 12192001"/>
              <a:gd name="connsiteY235"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306392 w 12192001"/>
              <a:gd name="connsiteY25" fmla="*/ 1272239 h 2344739"/>
              <a:gd name="connsiteX26" fmla="*/ 11415912 w 12192001"/>
              <a:gd name="connsiteY26" fmla="*/ 1173869 h 2344739"/>
              <a:gd name="connsiteX27" fmla="*/ 11245526 w 12192001"/>
              <a:gd name="connsiteY27" fmla="*/ 1274060 h 2344739"/>
              <a:gd name="connsiteX28" fmla="*/ 11227161 w 12192001"/>
              <a:gd name="connsiteY28" fmla="*/ 1276236 h 2344739"/>
              <a:gd name="connsiteX29" fmla="*/ 11216939 w 12192001"/>
              <a:gd name="connsiteY29" fmla="*/ 1275961 h 2344739"/>
              <a:gd name="connsiteX30" fmla="*/ 11216036 w 12192001"/>
              <a:gd name="connsiteY30" fmla="*/ 1275018 h 2344739"/>
              <a:gd name="connsiteX31" fmla="*/ 11187737 w 12192001"/>
              <a:gd name="connsiteY31" fmla="*/ 1292383 h 2344739"/>
              <a:gd name="connsiteX32" fmla="*/ 11183353 w 12192001"/>
              <a:gd name="connsiteY32" fmla="*/ 1292525 h 2344739"/>
              <a:gd name="connsiteX33" fmla="*/ 11165706 w 12192001"/>
              <a:gd name="connsiteY33" fmla="*/ 1306612 h 2344739"/>
              <a:gd name="connsiteX34" fmla="*/ 11156163 w 12192001"/>
              <a:gd name="connsiteY34" fmla="*/ 1312414 h 2344739"/>
              <a:gd name="connsiteX35" fmla="*/ 11154348 w 12192001"/>
              <a:gd name="connsiteY35" fmla="*/ 1317097 h 2344739"/>
              <a:gd name="connsiteX36" fmla="*/ 11139813 w 12192001"/>
              <a:gd name="connsiteY36" fmla="*/ 1324115 h 2344739"/>
              <a:gd name="connsiteX37" fmla="*/ 11137813 w 12192001"/>
              <a:gd name="connsiteY37" fmla="*/ 1323772 h 2344739"/>
              <a:gd name="connsiteX38" fmla="*/ 11127060 w 12192001"/>
              <a:gd name="connsiteY38" fmla="*/ 1333832 h 2344739"/>
              <a:gd name="connsiteX39" fmla="*/ 11119543 w 12192001"/>
              <a:gd name="connsiteY39" fmla="*/ 1347424 h 2344739"/>
              <a:gd name="connsiteX40" fmla="*/ 10893535 w 12192001"/>
              <a:gd name="connsiteY40" fmla="*/ 1473399 h 2344739"/>
              <a:gd name="connsiteX41" fmla="*/ 10772152 w 12192001"/>
              <a:gd name="connsiteY41" fmla="*/ 1523191 h 2344739"/>
              <a:gd name="connsiteX42" fmla="*/ 10626520 w 12192001"/>
              <a:gd name="connsiteY42" fmla="*/ 1559229 h 2344739"/>
              <a:gd name="connsiteX43" fmla="*/ 10580747 w 12192001"/>
              <a:gd name="connsiteY43" fmla="*/ 1568689 h 2344739"/>
              <a:gd name="connsiteX44" fmla="*/ 10546642 w 12192001"/>
              <a:gd name="connsiteY44" fmla="*/ 1598423 h 2344739"/>
              <a:gd name="connsiteX45" fmla="*/ 10528495 w 12192001"/>
              <a:gd name="connsiteY45" fmla="*/ 1596907 h 2344739"/>
              <a:gd name="connsiteX46" fmla="*/ 10525298 w 12192001"/>
              <a:gd name="connsiteY46" fmla="*/ 1596411 h 2344739"/>
              <a:gd name="connsiteX47" fmla="*/ 10513981 w 12192001"/>
              <a:gd name="connsiteY47" fmla="*/ 1599537 h 2344739"/>
              <a:gd name="connsiteX48" fmla="*/ 10490587 w 12192001"/>
              <a:gd name="connsiteY48" fmla="*/ 1594156 h 2344739"/>
              <a:gd name="connsiteX49" fmla="*/ 10470270 w 12192001"/>
              <a:gd name="connsiteY49" fmla="*/ 1601693 h 2344739"/>
              <a:gd name="connsiteX50" fmla="*/ 10375894 w 12192001"/>
              <a:gd name="connsiteY50" fmla="*/ 1644598 h 2344739"/>
              <a:gd name="connsiteX51" fmla="*/ 10318190 w 12192001"/>
              <a:gd name="connsiteY51" fmla="*/ 1666221 h 2344739"/>
              <a:gd name="connsiteX52" fmla="*/ 10294319 w 12192001"/>
              <a:gd name="connsiteY52" fmla="*/ 1668079 h 2344739"/>
              <a:gd name="connsiteX53" fmla="*/ 10262295 w 12192001"/>
              <a:gd name="connsiteY53" fmla="*/ 1674948 h 2344739"/>
              <a:gd name="connsiteX54" fmla="*/ 10204270 w 12192001"/>
              <a:gd name="connsiteY54" fmla="*/ 1682149 h 2344739"/>
              <a:gd name="connsiteX55" fmla="*/ 10176611 w 12192001"/>
              <a:gd name="connsiteY55" fmla="*/ 1692943 h 2344739"/>
              <a:gd name="connsiteX56" fmla="*/ 10163922 w 12192001"/>
              <a:gd name="connsiteY56" fmla="*/ 1693739 h 2344739"/>
              <a:gd name="connsiteX57" fmla="*/ 10155160 w 12192001"/>
              <a:gd name="connsiteY57" fmla="*/ 1707487 h 2344739"/>
              <a:gd name="connsiteX58" fmla="*/ 10117119 w 12192001"/>
              <a:gd name="connsiteY58" fmla="*/ 1731142 h 2344739"/>
              <a:gd name="connsiteX59" fmla="*/ 10100445 w 12192001"/>
              <a:gd name="connsiteY59" fmla="*/ 1742432 h 2344739"/>
              <a:gd name="connsiteX60" fmla="*/ 10082169 w 12192001"/>
              <a:gd name="connsiteY60" fmla="*/ 1743296 h 2344739"/>
              <a:gd name="connsiteX61" fmla="*/ 10039240 w 12192001"/>
              <a:gd name="connsiteY61" fmla="*/ 1741632 h 2344739"/>
              <a:gd name="connsiteX62" fmla="*/ 9960019 w 12192001"/>
              <a:gd name="connsiteY62" fmla="*/ 1757147 h 2344739"/>
              <a:gd name="connsiteX63" fmla="*/ 9847792 w 12192001"/>
              <a:gd name="connsiteY63" fmla="*/ 1763915 h 2344739"/>
              <a:gd name="connsiteX64" fmla="*/ 9728309 w 12192001"/>
              <a:gd name="connsiteY64" fmla="*/ 1784122 h 2344739"/>
              <a:gd name="connsiteX65" fmla="*/ 9584507 w 12192001"/>
              <a:gd name="connsiteY65" fmla="*/ 1795542 h 2344739"/>
              <a:gd name="connsiteX66" fmla="*/ 9343052 w 12192001"/>
              <a:gd name="connsiteY66" fmla="*/ 1841244 h 2344739"/>
              <a:gd name="connsiteX67" fmla="*/ 9231370 w 12192001"/>
              <a:gd name="connsiteY67" fmla="*/ 1893149 h 2344739"/>
              <a:gd name="connsiteX68" fmla="*/ 9194810 w 12192001"/>
              <a:gd name="connsiteY68" fmla="*/ 1903228 h 2344739"/>
              <a:gd name="connsiteX69" fmla="*/ 9189246 w 12192001"/>
              <a:gd name="connsiteY69" fmla="*/ 1912467 h 2344739"/>
              <a:gd name="connsiteX70" fmla="*/ 9151232 w 12192001"/>
              <a:gd name="connsiteY70" fmla="*/ 1923669 h 2344739"/>
              <a:gd name="connsiteX71" fmla="*/ 9150210 w 12192001"/>
              <a:gd name="connsiteY71" fmla="*/ 1922604 h 2344739"/>
              <a:gd name="connsiteX72" fmla="*/ 9137318 w 12192001"/>
              <a:gd name="connsiteY72" fmla="*/ 1920435 h 2344739"/>
              <a:gd name="connsiteX73" fmla="*/ 9113812 w 12192001"/>
              <a:gd name="connsiteY73" fmla="*/ 1919069 h 2344739"/>
              <a:gd name="connsiteX74" fmla="*/ 9053453 w 12192001"/>
              <a:gd name="connsiteY74" fmla="*/ 1910755 h 2344739"/>
              <a:gd name="connsiteX75" fmla="*/ 9005486 w 12192001"/>
              <a:gd name="connsiteY75" fmla="*/ 1914040 h 2344739"/>
              <a:gd name="connsiteX76" fmla="*/ 9005201 w 12192001"/>
              <a:gd name="connsiteY76" fmla="*/ 1913800 h 2344739"/>
              <a:gd name="connsiteX77" fmla="*/ 8996232 w 12192001"/>
              <a:gd name="connsiteY77" fmla="*/ 1915011 h 2344739"/>
              <a:gd name="connsiteX78" fmla="*/ 8990394 w 12192001"/>
              <a:gd name="connsiteY78" fmla="*/ 1917072 h 2344739"/>
              <a:gd name="connsiteX79" fmla="*/ 8974337 w 12192001"/>
              <a:gd name="connsiteY79" fmla="*/ 1920298 h 2344739"/>
              <a:gd name="connsiteX80" fmla="*/ 8968011 w 12192001"/>
              <a:gd name="connsiteY80" fmla="*/ 1919598 h 2344739"/>
              <a:gd name="connsiteX81" fmla="*/ 8963048 w 12192001"/>
              <a:gd name="connsiteY81" fmla="*/ 1917373 h 2344739"/>
              <a:gd name="connsiteX82" fmla="*/ 8928988 w 12192001"/>
              <a:gd name="connsiteY82" fmla="*/ 1914185 h 2344739"/>
              <a:gd name="connsiteX83" fmla="*/ 8752444 w 12192001"/>
              <a:gd name="connsiteY83" fmla="*/ 1933417 h 2344739"/>
              <a:gd name="connsiteX84" fmla="*/ 8707847 w 12192001"/>
              <a:gd name="connsiteY84" fmla="*/ 1935518 h 2344739"/>
              <a:gd name="connsiteX85" fmla="*/ 8596071 w 12192001"/>
              <a:gd name="connsiteY85" fmla="*/ 1944090 h 2344739"/>
              <a:gd name="connsiteX86" fmla="*/ 8525230 w 12192001"/>
              <a:gd name="connsiteY86" fmla="*/ 1929248 h 2344739"/>
              <a:gd name="connsiteX87" fmla="*/ 8510983 w 12192001"/>
              <a:gd name="connsiteY87" fmla="*/ 1935163 h 2344739"/>
              <a:gd name="connsiteX88" fmla="*/ 8506167 w 12192001"/>
              <a:gd name="connsiteY88" fmla="*/ 1938164 h 2344739"/>
              <a:gd name="connsiteX89" fmla="*/ 8497968 w 12192001"/>
              <a:gd name="connsiteY89" fmla="*/ 1940902 h 2344739"/>
              <a:gd name="connsiteX90" fmla="*/ 8497594 w 12192001"/>
              <a:gd name="connsiteY90" fmla="*/ 1940723 h 2344739"/>
              <a:gd name="connsiteX91" fmla="*/ 8490249 w 12192001"/>
              <a:gd name="connsiteY91" fmla="*/ 1943773 h 2344739"/>
              <a:gd name="connsiteX92" fmla="*/ 8367182 w 12192001"/>
              <a:gd name="connsiteY92" fmla="*/ 1957815 h 2344739"/>
              <a:gd name="connsiteX93" fmla="*/ 8353799 w 12192001"/>
              <a:gd name="connsiteY93" fmla="*/ 1958009 h 2344739"/>
              <a:gd name="connsiteX94" fmla="*/ 8352373 w 12192001"/>
              <a:gd name="connsiteY94" fmla="*/ 1957169 h 2344739"/>
              <a:gd name="connsiteX95" fmla="*/ 8320104 w 12192001"/>
              <a:gd name="connsiteY95" fmla="*/ 1974587 h 2344739"/>
              <a:gd name="connsiteX96" fmla="*/ 8314433 w 12192001"/>
              <a:gd name="connsiteY96" fmla="*/ 1974913 h 2344739"/>
              <a:gd name="connsiteX97" fmla="*/ 8295174 w 12192001"/>
              <a:gd name="connsiteY97" fmla="*/ 1988808 h 2344739"/>
              <a:gd name="connsiteX98" fmla="*/ 8284276 w 12192001"/>
              <a:gd name="connsiteY98" fmla="*/ 1994631 h 2344739"/>
              <a:gd name="connsiteX99" fmla="*/ 8283150 w 12192001"/>
              <a:gd name="connsiteY99" fmla="*/ 1999074 h 2344739"/>
              <a:gd name="connsiteX100" fmla="*/ 8266076 w 12192001"/>
              <a:gd name="connsiteY100" fmla="*/ 2006249 h 2344739"/>
              <a:gd name="connsiteX101" fmla="*/ 8263377 w 12192001"/>
              <a:gd name="connsiteY101" fmla="*/ 2006019 h 2344739"/>
              <a:gd name="connsiteX102" fmla="*/ 8252033 w 12192001"/>
              <a:gd name="connsiteY102" fmla="*/ 2015862 h 2344739"/>
              <a:gd name="connsiteX103" fmla="*/ 8245834 w 12192001"/>
              <a:gd name="connsiteY103" fmla="*/ 2028854 h 2344739"/>
              <a:gd name="connsiteX104" fmla="*/ 8090272 w 12192001"/>
              <a:gd name="connsiteY104" fmla="*/ 2075015 h 2344739"/>
              <a:gd name="connsiteX105" fmla="*/ 7905407 w 12192001"/>
              <a:gd name="connsiteY105" fmla="*/ 2116988 h 2344739"/>
              <a:gd name="connsiteX106" fmla="*/ 7718745 w 12192001"/>
              <a:gd name="connsiteY106" fmla="*/ 2142703 h 2344739"/>
              <a:gd name="connsiteX107" fmla="*/ 7614347 w 12192001"/>
              <a:gd name="connsiteY107" fmla="*/ 2139232 h 2344739"/>
              <a:gd name="connsiteX108" fmla="*/ 7527543 w 12192001"/>
              <a:gd name="connsiteY108" fmla="*/ 2145060 h 2344739"/>
              <a:gd name="connsiteX109" fmla="*/ 7519571 w 12192001"/>
              <a:gd name="connsiteY109" fmla="*/ 2147613 h 2344739"/>
              <a:gd name="connsiteX110" fmla="*/ 7507411 w 12192001"/>
              <a:gd name="connsiteY110" fmla="*/ 2148948 h 2344739"/>
              <a:gd name="connsiteX111" fmla="*/ 7507040 w 12192001"/>
              <a:gd name="connsiteY111" fmla="*/ 2148621 h 2344739"/>
              <a:gd name="connsiteX112" fmla="*/ 7495795 w 12192001"/>
              <a:gd name="connsiteY112" fmla="*/ 2150573 h 2344739"/>
              <a:gd name="connsiteX113" fmla="*/ 7405391 w 12192001"/>
              <a:gd name="connsiteY113" fmla="*/ 2142468 h 2344739"/>
              <a:gd name="connsiteX114" fmla="*/ 7312180 w 12192001"/>
              <a:gd name="connsiteY114" fmla="*/ 2132873 h 2344739"/>
              <a:gd name="connsiteX115" fmla="*/ 7310853 w 12192001"/>
              <a:gd name="connsiteY115" fmla="*/ 2131431 h 2344739"/>
              <a:gd name="connsiteX116" fmla="*/ 7218559 w 12192001"/>
              <a:gd name="connsiteY116" fmla="*/ 2156680 h 2344739"/>
              <a:gd name="connsiteX117" fmla="*/ 7201101 w 12192001"/>
              <a:gd name="connsiteY117" fmla="*/ 2161230 h 2344739"/>
              <a:gd name="connsiteX118" fmla="*/ 7197004 w 12192001"/>
              <a:gd name="connsiteY118" fmla="*/ 2166588 h 2344739"/>
              <a:gd name="connsiteX119" fmla="*/ 7170808 w 12192001"/>
              <a:gd name="connsiteY119" fmla="*/ 2171236 h 2344739"/>
              <a:gd name="connsiteX120" fmla="*/ 7096988 w 12192001"/>
              <a:gd name="connsiteY120" fmla="*/ 2183464 h 2344739"/>
              <a:gd name="connsiteX121" fmla="*/ 7018496 w 12192001"/>
              <a:gd name="connsiteY121" fmla="*/ 2183090 h 2344739"/>
              <a:gd name="connsiteX122" fmla="*/ 6904146 w 12192001"/>
              <a:gd name="connsiteY122" fmla="*/ 2212596 h 2344739"/>
              <a:gd name="connsiteX123" fmla="*/ 6708222 w 12192001"/>
              <a:gd name="connsiteY123" fmla="*/ 2240551 h 2344739"/>
              <a:gd name="connsiteX124" fmla="*/ 6549454 w 12192001"/>
              <a:gd name="connsiteY124" fmla="*/ 2269327 h 2344739"/>
              <a:gd name="connsiteX125" fmla="*/ 6317560 w 12192001"/>
              <a:gd name="connsiteY125" fmla="*/ 2316127 h 2344739"/>
              <a:gd name="connsiteX126" fmla="*/ 6168674 w 12192001"/>
              <a:gd name="connsiteY126" fmla="*/ 2318214 h 2344739"/>
              <a:gd name="connsiteX127" fmla="*/ 6073848 w 12192001"/>
              <a:gd name="connsiteY127" fmla="*/ 2338676 h 2344739"/>
              <a:gd name="connsiteX128" fmla="*/ 6068529 w 12192001"/>
              <a:gd name="connsiteY128" fmla="*/ 2337139 h 2344739"/>
              <a:gd name="connsiteX129" fmla="*/ 6048638 w 12192001"/>
              <a:gd name="connsiteY129" fmla="*/ 2337822 h 2344739"/>
              <a:gd name="connsiteX130" fmla="*/ 6041285 w 12192001"/>
              <a:gd name="connsiteY130" fmla="*/ 2329473 h 2344739"/>
              <a:gd name="connsiteX131" fmla="*/ 6010090 w 12192001"/>
              <a:gd name="connsiteY131" fmla="*/ 2324380 h 2344739"/>
              <a:gd name="connsiteX132" fmla="*/ 5957375 w 12192001"/>
              <a:gd name="connsiteY132" fmla="*/ 2328024 h 2344739"/>
              <a:gd name="connsiteX133" fmla="*/ 5758919 w 12192001"/>
              <a:gd name="connsiteY133" fmla="*/ 2343716 h 2344739"/>
              <a:gd name="connsiteX134" fmla="*/ 5626960 w 12192001"/>
              <a:gd name="connsiteY134" fmla="*/ 2344739 h 2344739"/>
              <a:gd name="connsiteX135" fmla="*/ 5470906 w 12192001"/>
              <a:gd name="connsiteY135" fmla="*/ 2330719 h 2344739"/>
              <a:gd name="connsiteX136" fmla="*/ 5432761 w 12192001"/>
              <a:gd name="connsiteY136" fmla="*/ 2319466 h 2344739"/>
              <a:gd name="connsiteX137" fmla="*/ 5381669 w 12192001"/>
              <a:gd name="connsiteY137" fmla="*/ 2301764 h 2344739"/>
              <a:gd name="connsiteX138" fmla="*/ 5261764 w 12192001"/>
              <a:gd name="connsiteY138" fmla="*/ 2281347 h 2344739"/>
              <a:gd name="connsiteX139" fmla="*/ 5222961 w 12192001"/>
              <a:gd name="connsiteY139" fmla="*/ 2270223 h 2344739"/>
              <a:gd name="connsiteX140" fmla="*/ 5174660 w 12192001"/>
              <a:gd name="connsiteY140" fmla="*/ 2267233 h 2344739"/>
              <a:gd name="connsiteX141" fmla="*/ 5156554 w 12192001"/>
              <a:gd name="connsiteY141" fmla="*/ 2260010 h 2344739"/>
              <a:gd name="connsiteX142" fmla="*/ 5142599 w 12192001"/>
              <a:gd name="connsiteY142" fmla="*/ 2256610 h 2344739"/>
              <a:gd name="connsiteX143" fmla="*/ 5139596 w 12192001"/>
              <a:gd name="connsiteY143" fmla="*/ 2254509 h 2344739"/>
              <a:gd name="connsiteX144" fmla="*/ 5121659 w 12192001"/>
              <a:gd name="connsiteY144" fmla="*/ 2243656 h 2344739"/>
              <a:gd name="connsiteX145" fmla="*/ 5065790 w 12192001"/>
              <a:gd name="connsiteY145" fmla="*/ 2250227 h 2344739"/>
              <a:gd name="connsiteX146" fmla="*/ 5011514 w 12192001"/>
              <a:gd name="connsiteY146" fmla="*/ 2233846 h 2344739"/>
              <a:gd name="connsiteX147" fmla="*/ 4840441 w 12192001"/>
              <a:gd name="connsiteY147" fmla="*/ 2209829 h 2344739"/>
              <a:gd name="connsiteX148" fmla="*/ 4762447 w 12192001"/>
              <a:gd name="connsiteY148" fmla="*/ 2182061 h 2344739"/>
              <a:gd name="connsiteX149" fmla="*/ 4723186 w 12192001"/>
              <a:gd name="connsiteY149" fmla="*/ 2173047 h 2344739"/>
              <a:gd name="connsiteX150" fmla="*/ 4721176 w 12192001"/>
              <a:gd name="connsiteY150" fmla="*/ 2172298 h 2344739"/>
              <a:gd name="connsiteX151" fmla="*/ 4722111 w 12192001"/>
              <a:gd name="connsiteY151" fmla="*/ 2172087 h 2344739"/>
              <a:gd name="connsiteX152" fmla="*/ 4717202 w 12192001"/>
              <a:gd name="connsiteY152" fmla="*/ 2170817 h 2344739"/>
              <a:gd name="connsiteX153" fmla="*/ 4721176 w 12192001"/>
              <a:gd name="connsiteY153" fmla="*/ 2172298 h 2344739"/>
              <a:gd name="connsiteX154" fmla="*/ 4715526 w 12192001"/>
              <a:gd name="connsiteY154" fmla="*/ 2173573 h 2344739"/>
              <a:gd name="connsiteX155" fmla="*/ 4515814 w 12192001"/>
              <a:gd name="connsiteY155" fmla="*/ 2163671 h 2344739"/>
              <a:gd name="connsiteX156" fmla="*/ 4428543 w 12192001"/>
              <a:gd name="connsiteY156" fmla="*/ 2153020 h 2344739"/>
              <a:gd name="connsiteX157" fmla="*/ 4362875 w 12192001"/>
              <a:gd name="connsiteY157" fmla="*/ 2151674 h 2344739"/>
              <a:gd name="connsiteX158" fmla="*/ 4316966 w 12192001"/>
              <a:gd name="connsiteY158" fmla="*/ 2158289 h 2344739"/>
              <a:gd name="connsiteX159" fmla="*/ 4315110 w 12192001"/>
              <a:gd name="connsiteY159" fmla="*/ 2156948 h 2344739"/>
              <a:gd name="connsiteX160" fmla="*/ 4295144 w 12192001"/>
              <a:gd name="connsiteY160" fmla="*/ 2155069 h 2344739"/>
              <a:gd name="connsiteX161" fmla="*/ 4290064 w 12192001"/>
              <a:gd name="connsiteY161" fmla="*/ 2157986 h 2344739"/>
              <a:gd name="connsiteX162" fmla="*/ 4276142 w 12192001"/>
              <a:gd name="connsiteY162" fmla="*/ 2157740 h 2344739"/>
              <a:gd name="connsiteX163" fmla="*/ 4248117 w 12192001"/>
              <a:gd name="connsiteY163" fmla="*/ 2160064 h 2344739"/>
              <a:gd name="connsiteX164" fmla="*/ 4202051 w 12192001"/>
              <a:gd name="connsiteY164" fmla="*/ 2157269 h 2344739"/>
              <a:gd name="connsiteX165" fmla="*/ 4201745 w 12192001"/>
              <a:gd name="connsiteY165" fmla="*/ 2156010 h 2344739"/>
              <a:gd name="connsiteX166" fmla="*/ 4191248 w 12192001"/>
              <a:gd name="connsiteY166" fmla="*/ 2150376 h 2344739"/>
              <a:gd name="connsiteX167" fmla="*/ 4142745 w 12192001"/>
              <a:gd name="connsiteY167" fmla="*/ 2134511 h 2344739"/>
              <a:gd name="connsiteX168" fmla="*/ 4083097 w 12192001"/>
              <a:gd name="connsiteY168" fmla="*/ 2107978 h 2344739"/>
              <a:gd name="connsiteX169" fmla="*/ 4074546 w 12192001"/>
              <a:gd name="connsiteY169" fmla="*/ 2107143 h 2344739"/>
              <a:gd name="connsiteX170" fmla="*/ 4074427 w 12192001"/>
              <a:gd name="connsiteY170" fmla="*/ 2106844 h 2344739"/>
              <a:gd name="connsiteX171" fmla="*/ 4065510 w 12192001"/>
              <a:gd name="connsiteY171" fmla="*/ 2105400 h 2344739"/>
              <a:gd name="connsiteX172" fmla="*/ 4058954 w 12192001"/>
              <a:gd name="connsiteY172" fmla="*/ 2105618 h 2344739"/>
              <a:gd name="connsiteX173" fmla="*/ 4042364 w 12192001"/>
              <a:gd name="connsiteY173" fmla="*/ 2103997 h 2344739"/>
              <a:gd name="connsiteX174" fmla="*/ 4036997 w 12192001"/>
              <a:gd name="connsiteY174" fmla="*/ 2101563 h 2344739"/>
              <a:gd name="connsiteX175" fmla="*/ 4035363 w 12192001"/>
              <a:gd name="connsiteY175" fmla="*/ 2097896 h 2344739"/>
              <a:gd name="connsiteX176" fmla="*/ 4033778 w 12192001"/>
              <a:gd name="connsiteY176" fmla="*/ 2098131 h 2344739"/>
              <a:gd name="connsiteX177" fmla="*/ 4004538 w 12192001"/>
              <a:gd name="connsiteY177" fmla="*/ 2085563 h 2344739"/>
              <a:gd name="connsiteX178" fmla="*/ 3936846 w 12192001"/>
              <a:gd name="connsiteY178" fmla="*/ 2068106 h 2344739"/>
              <a:gd name="connsiteX179" fmla="*/ 3897275 w 12192001"/>
              <a:gd name="connsiteY179" fmla="*/ 2062451 h 2344739"/>
              <a:gd name="connsiteX180" fmla="*/ 3789760 w 12192001"/>
              <a:gd name="connsiteY180" fmla="*/ 2042213 h 2344739"/>
              <a:gd name="connsiteX181" fmla="*/ 3682513 w 12192001"/>
              <a:gd name="connsiteY181" fmla="*/ 2018290 h 2344739"/>
              <a:gd name="connsiteX182" fmla="*/ 3610035 w 12192001"/>
              <a:gd name="connsiteY182" fmla="*/ 1986019 h 2344739"/>
              <a:gd name="connsiteX183" fmla="*/ 3603855 w 12192001"/>
              <a:gd name="connsiteY183" fmla="*/ 1987381 h 2344739"/>
              <a:gd name="connsiteX184" fmla="*/ 3594736 w 12192001"/>
              <a:gd name="connsiteY184" fmla="*/ 1987545 h 2344739"/>
              <a:gd name="connsiteX185" fmla="*/ 3594501 w 12192001"/>
              <a:gd name="connsiteY185" fmla="*/ 1987276 h 2344739"/>
              <a:gd name="connsiteX186" fmla="*/ 3585978 w 12192001"/>
              <a:gd name="connsiteY186" fmla="*/ 1987966 h 2344739"/>
              <a:gd name="connsiteX187" fmla="*/ 3536135 w 12192001"/>
              <a:gd name="connsiteY187" fmla="*/ 1978267 h 2344739"/>
              <a:gd name="connsiteX188" fmla="*/ 3473223 w 12192001"/>
              <a:gd name="connsiteY188" fmla="*/ 1974606 h 2344739"/>
              <a:gd name="connsiteX189" fmla="*/ 3400728 w 12192001"/>
              <a:gd name="connsiteY189" fmla="*/ 1962558 h 2344739"/>
              <a:gd name="connsiteX190" fmla="*/ 3363888 w 12192001"/>
              <a:gd name="connsiteY190" fmla="*/ 1979510 h 2344739"/>
              <a:gd name="connsiteX191" fmla="*/ 3344026 w 12192001"/>
              <a:gd name="connsiteY191" fmla="*/ 1981192 h 2344739"/>
              <a:gd name="connsiteX192" fmla="*/ 3341698 w 12192001"/>
              <a:gd name="connsiteY192" fmla="*/ 1980217 h 2344739"/>
              <a:gd name="connsiteX193" fmla="*/ 3262356 w 12192001"/>
              <a:gd name="connsiteY193" fmla="*/ 1986094 h 2344739"/>
              <a:gd name="connsiteX194" fmla="*/ 3142556 w 12192001"/>
              <a:gd name="connsiteY194" fmla="*/ 1993869 h 2344739"/>
              <a:gd name="connsiteX195" fmla="*/ 3030291 w 12192001"/>
              <a:gd name="connsiteY195" fmla="*/ 1996512 h 2344739"/>
              <a:gd name="connsiteX196" fmla="*/ 2781569 w 12192001"/>
              <a:gd name="connsiteY196" fmla="*/ 2018333 h 2344739"/>
              <a:gd name="connsiteX197" fmla="*/ 2646527 w 12192001"/>
              <a:gd name="connsiteY197" fmla="*/ 2028869 h 2344739"/>
              <a:gd name="connsiteX198" fmla="*/ 2568028 w 12192001"/>
              <a:gd name="connsiteY198" fmla="*/ 2002628 h 2344739"/>
              <a:gd name="connsiteX199" fmla="*/ 2443255 w 12192001"/>
              <a:gd name="connsiteY199" fmla="*/ 2016529 h 2344739"/>
              <a:gd name="connsiteX200" fmla="*/ 2315112 w 12192001"/>
              <a:gd name="connsiteY200" fmla="*/ 2024996 h 2344739"/>
              <a:gd name="connsiteX201" fmla="*/ 2208578 w 12192001"/>
              <a:gd name="connsiteY201" fmla="*/ 2019763 h 2344739"/>
              <a:gd name="connsiteX202" fmla="*/ 2094665 w 12192001"/>
              <a:gd name="connsiteY202" fmla="*/ 2003052 h 2344739"/>
              <a:gd name="connsiteX203" fmla="*/ 1997356 w 12192001"/>
              <a:gd name="connsiteY203" fmla="*/ 1995032 h 2344739"/>
              <a:gd name="connsiteX204" fmla="*/ 1928172 w 12192001"/>
              <a:gd name="connsiteY204" fmla="*/ 2016977 h 2344739"/>
              <a:gd name="connsiteX205" fmla="*/ 1921650 w 12192001"/>
              <a:gd name="connsiteY205" fmla="*/ 2012146 h 2344739"/>
              <a:gd name="connsiteX206" fmla="*/ 1873080 w 12192001"/>
              <a:gd name="connsiteY206" fmla="*/ 2013741 h 2344739"/>
              <a:gd name="connsiteX207" fmla="*/ 1786655 w 12192001"/>
              <a:gd name="connsiteY207" fmla="*/ 2041363 h 2344739"/>
              <a:gd name="connsiteX208" fmla="*/ 1738204 w 12192001"/>
              <a:gd name="connsiteY208" fmla="*/ 2036312 h 2344739"/>
              <a:gd name="connsiteX209" fmla="*/ 1675071 w 12192001"/>
              <a:gd name="connsiteY209" fmla="*/ 2019963 h 2344739"/>
              <a:gd name="connsiteX210" fmla="*/ 1608669 w 12192001"/>
              <a:gd name="connsiteY210" fmla="*/ 2013066 h 2344739"/>
              <a:gd name="connsiteX211" fmla="*/ 1496110 w 12192001"/>
              <a:gd name="connsiteY211" fmla="*/ 1987476 h 2344739"/>
              <a:gd name="connsiteX212" fmla="*/ 1149979 w 12192001"/>
              <a:gd name="connsiteY212" fmla="*/ 1938041 h 2344739"/>
              <a:gd name="connsiteX213" fmla="*/ 858269 w 12192001"/>
              <a:gd name="connsiteY213" fmla="*/ 1928608 h 2344739"/>
              <a:gd name="connsiteX214" fmla="*/ 837540 w 12192001"/>
              <a:gd name="connsiteY214" fmla="*/ 1929821 h 2344739"/>
              <a:gd name="connsiteX215" fmla="*/ 816809 w 12192001"/>
              <a:gd name="connsiteY215" fmla="*/ 1927857 h 2344739"/>
              <a:gd name="connsiteX216" fmla="*/ 811506 w 12192001"/>
              <a:gd name="connsiteY216" fmla="*/ 1930751 h 2344739"/>
              <a:gd name="connsiteX217" fmla="*/ 797041 w 12192001"/>
              <a:gd name="connsiteY217" fmla="*/ 1930446 h 2344739"/>
              <a:gd name="connsiteX218" fmla="*/ 767901 w 12192001"/>
              <a:gd name="connsiteY218" fmla="*/ 1932653 h 2344739"/>
              <a:gd name="connsiteX219" fmla="*/ 763053 w 12192001"/>
              <a:gd name="connsiteY219" fmla="*/ 1930432 h 2344739"/>
              <a:gd name="connsiteX220" fmla="*/ 720047 w 12192001"/>
              <a:gd name="connsiteY220" fmla="*/ 1929661 h 2344739"/>
              <a:gd name="connsiteX221" fmla="*/ 719742 w 12192001"/>
              <a:gd name="connsiteY221" fmla="*/ 1928399 h 2344739"/>
              <a:gd name="connsiteX222" fmla="*/ 708875 w 12192001"/>
              <a:gd name="connsiteY222" fmla="*/ 1922722 h 2344739"/>
              <a:gd name="connsiteX223" fmla="*/ 596792 w 12192001"/>
              <a:gd name="connsiteY223" fmla="*/ 1879864 h 2344739"/>
              <a:gd name="connsiteX224" fmla="*/ 578535 w 12192001"/>
              <a:gd name="connsiteY224" fmla="*/ 1877212 h 2344739"/>
              <a:gd name="connsiteX225" fmla="*/ 571717 w 12192001"/>
              <a:gd name="connsiteY225" fmla="*/ 1877401 h 2344739"/>
              <a:gd name="connsiteX226" fmla="*/ 445099 w 12192001"/>
              <a:gd name="connsiteY226" fmla="*/ 1839371 h 2344739"/>
              <a:gd name="connsiteX227" fmla="*/ 404015 w 12192001"/>
              <a:gd name="connsiteY227" fmla="*/ 1833548 h 2344739"/>
              <a:gd name="connsiteX228" fmla="*/ 292435 w 12192001"/>
              <a:gd name="connsiteY228" fmla="*/ 1812852 h 2344739"/>
              <a:gd name="connsiteX229" fmla="*/ 118381 w 12192001"/>
              <a:gd name="connsiteY229" fmla="*/ 1761047 h 2344739"/>
              <a:gd name="connsiteX230" fmla="*/ 15526 w 12192001"/>
              <a:gd name="connsiteY230" fmla="*/ 1758191 h 2344739"/>
              <a:gd name="connsiteX231" fmla="*/ 2 w 12192001"/>
              <a:gd name="connsiteY231" fmla="*/ 1752722 h 2344739"/>
              <a:gd name="connsiteX232" fmla="*/ 1 w 12192001"/>
              <a:gd name="connsiteY232" fmla="*/ 762497 h 2344739"/>
              <a:gd name="connsiteX233" fmla="*/ 0 w 12192001"/>
              <a:gd name="connsiteY233" fmla="*/ 762497 h 2344739"/>
              <a:gd name="connsiteX234" fmla="*/ 0 w 12192001"/>
              <a:gd name="connsiteY234" fmla="*/ 222213 h 2344739"/>
              <a:gd name="connsiteX235" fmla="*/ 0 w 12192001"/>
              <a:gd name="connsiteY235"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306392 w 12192001"/>
              <a:gd name="connsiteY25" fmla="*/ 1272239 h 2344739"/>
              <a:gd name="connsiteX26" fmla="*/ 11415912 w 12192001"/>
              <a:gd name="connsiteY26" fmla="*/ 1173869 h 2344739"/>
              <a:gd name="connsiteX27" fmla="*/ 11245526 w 12192001"/>
              <a:gd name="connsiteY27" fmla="*/ 1274060 h 2344739"/>
              <a:gd name="connsiteX28" fmla="*/ 11227161 w 12192001"/>
              <a:gd name="connsiteY28" fmla="*/ 1276236 h 2344739"/>
              <a:gd name="connsiteX29" fmla="*/ 11216939 w 12192001"/>
              <a:gd name="connsiteY29" fmla="*/ 1275961 h 2344739"/>
              <a:gd name="connsiteX30" fmla="*/ 11216036 w 12192001"/>
              <a:gd name="connsiteY30" fmla="*/ 1275018 h 2344739"/>
              <a:gd name="connsiteX31" fmla="*/ 11187737 w 12192001"/>
              <a:gd name="connsiteY31" fmla="*/ 1292383 h 2344739"/>
              <a:gd name="connsiteX32" fmla="*/ 11183353 w 12192001"/>
              <a:gd name="connsiteY32" fmla="*/ 1292525 h 2344739"/>
              <a:gd name="connsiteX33" fmla="*/ 11165706 w 12192001"/>
              <a:gd name="connsiteY33" fmla="*/ 1306612 h 2344739"/>
              <a:gd name="connsiteX34" fmla="*/ 11156163 w 12192001"/>
              <a:gd name="connsiteY34" fmla="*/ 1312414 h 2344739"/>
              <a:gd name="connsiteX35" fmla="*/ 11154348 w 12192001"/>
              <a:gd name="connsiteY35" fmla="*/ 1317097 h 2344739"/>
              <a:gd name="connsiteX36" fmla="*/ 11139813 w 12192001"/>
              <a:gd name="connsiteY36" fmla="*/ 1324115 h 2344739"/>
              <a:gd name="connsiteX37" fmla="*/ 11137813 w 12192001"/>
              <a:gd name="connsiteY37" fmla="*/ 1323772 h 2344739"/>
              <a:gd name="connsiteX38" fmla="*/ 11127060 w 12192001"/>
              <a:gd name="connsiteY38" fmla="*/ 1333832 h 2344739"/>
              <a:gd name="connsiteX39" fmla="*/ 11119543 w 12192001"/>
              <a:gd name="connsiteY39" fmla="*/ 1347424 h 2344739"/>
              <a:gd name="connsiteX40" fmla="*/ 10893535 w 12192001"/>
              <a:gd name="connsiteY40" fmla="*/ 1473399 h 2344739"/>
              <a:gd name="connsiteX41" fmla="*/ 10772152 w 12192001"/>
              <a:gd name="connsiteY41" fmla="*/ 1523191 h 2344739"/>
              <a:gd name="connsiteX42" fmla="*/ 10626520 w 12192001"/>
              <a:gd name="connsiteY42" fmla="*/ 1559229 h 2344739"/>
              <a:gd name="connsiteX43" fmla="*/ 10580747 w 12192001"/>
              <a:gd name="connsiteY43" fmla="*/ 1568689 h 2344739"/>
              <a:gd name="connsiteX44" fmla="*/ 10546642 w 12192001"/>
              <a:gd name="connsiteY44" fmla="*/ 1598423 h 2344739"/>
              <a:gd name="connsiteX45" fmla="*/ 10528495 w 12192001"/>
              <a:gd name="connsiteY45" fmla="*/ 1596907 h 2344739"/>
              <a:gd name="connsiteX46" fmla="*/ 10525298 w 12192001"/>
              <a:gd name="connsiteY46" fmla="*/ 1596411 h 2344739"/>
              <a:gd name="connsiteX47" fmla="*/ 10513981 w 12192001"/>
              <a:gd name="connsiteY47" fmla="*/ 1599537 h 2344739"/>
              <a:gd name="connsiteX48" fmla="*/ 10490587 w 12192001"/>
              <a:gd name="connsiteY48" fmla="*/ 1594156 h 2344739"/>
              <a:gd name="connsiteX49" fmla="*/ 10470270 w 12192001"/>
              <a:gd name="connsiteY49" fmla="*/ 1601693 h 2344739"/>
              <a:gd name="connsiteX50" fmla="*/ 10375894 w 12192001"/>
              <a:gd name="connsiteY50" fmla="*/ 1644598 h 2344739"/>
              <a:gd name="connsiteX51" fmla="*/ 10318190 w 12192001"/>
              <a:gd name="connsiteY51" fmla="*/ 1666221 h 2344739"/>
              <a:gd name="connsiteX52" fmla="*/ 10294319 w 12192001"/>
              <a:gd name="connsiteY52" fmla="*/ 1668079 h 2344739"/>
              <a:gd name="connsiteX53" fmla="*/ 10262295 w 12192001"/>
              <a:gd name="connsiteY53" fmla="*/ 1674948 h 2344739"/>
              <a:gd name="connsiteX54" fmla="*/ 10204270 w 12192001"/>
              <a:gd name="connsiteY54" fmla="*/ 1682149 h 2344739"/>
              <a:gd name="connsiteX55" fmla="*/ 10176611 w 12192001"/>
              <a:gd name="connsiteY55" fmla="*/ 1692943 h 2344739"/>
              <a:gd name="connsiteX56" fmla="*/ 10163922 w 12192001"/>
              <a:gd name="connsiteY56" fmla="*/ 1693739 h 2344739"/>
              <a:gd name="connsiteX57" fmla="*/ 10155160 w 12192001"/>
              <a:gd name="connsiteY57" fmla="*/ 1707487 h 2344739"/>
              <a:gd name="connsiteX58" fmla="*/ 10117119 w 12192001"/>
              <a:gd name="connsiteY58" fmla="*/ 1731142 h 2344739"/>
              <a:gd name="connsiteX59" fmla="*/ 10100445 w 12192001"/>
              <a:gd name="connsiteY59" fmla="*/ 1742432 h 2344739"/>
              <a:gd name="connsiteX60" fmla="*/ 10082169 w 12192001"/>
              <a:gd name="connsiteY60" fmla="*/ 1743296 h 2344739"/>
              <a:gd name="connsiteX61" fmla="*/ 10039240 w 12192001"/>
              <a:gd name="connsiteY61" fmla="*/ 1741632 h 2344739"/>
              <a:gd name="connsiteX62" fmla="*/ 9960019 w 12192001"/>
              <a:gd name="connsiteY62" fmla="*/ 1757147 h 2344739"/>
              <a:gd name="connsiteX63" fmla="*/ 9847792 w 12192001"/>
              <a:gd name="connsiteY63" fmla="*/ 1763915 h 2344739"/>
              <a:gd name="connsiteX64" fmla="*/ 9728309 w 12192001"/>
              <a:gd name="connsiteY64" fmla="*/ 1784122 h 2344739"/>
              <a:gd name="connsiteX65" fmla="*/ 9584507 w 12192001"/>
              <a:gd name="connsiteY65" fmla="*/ 1795542 h 2344739"/>
              <a:gd name="connsiteX66" fmla="*/ 9343052 w 12192001"/>
              <a:gd name="connsiteY66" fmla="*/ 1841244 h 2344739"/>
              <a:gd name="connsiteX67" fmla="*/ 9231370 w 12192001"/>
              <a:gd name="connsiteY67" fmla="*/ 1893149 h 2344739"/>
              <a:gd name="connsiteX68" fmla="*/ 9194810 w 12192001"/>
              <a:gd name="connsiteY68" fmla="*/ 1903228 h 2344739"/>
              <a:gd name="connsiteX69" fmla="*/ 9189246 w 12192001"/>
              <a:gd name="connsiteY69" fmla="*/ 1912467 h 2344739"/>
              <a:gd name="connsiteX70" fmla="*/ 9151232 w 12192001"/>
              <a:gd name="connsiteY70" fmla="*/ 1923669 h 2344739"/>
              <a:gd name="connsiteX71" fmla="*/ 9150210 w 12192001"/>
              <a:gd name="connsiteY71" fmla="*/ 1922604 h 2344739"/>
              <a:gd name="connsiteX72" fmla="*/ 9137318 w 12192001"/>
              <a:gd name="connsiteY72" fmla="*/ 1920435 h 2344739"/>
              <a:gd name="connsiteX73" fmla="*/ 9113812 w 12192001"/>
              <a:gd name="connsiteY73" fmla="*/ 1919069 h 2344739"/>
              <a:gd name="connsiteX74" fmla="*/ 9053453 w 12192001"/>
              <a:gd name="connsiteY74" fmla="*/ 1910755 h 2344739"/>
              <a:gd name="connsiteX75" fmla="*/ 9005486 w 12192001"/>
              <a:gd name="connsiteY75" fmla="*/ 1914040 h 2344739"/>
              <a:gd name="connsiteX76" fmla="*/ 9005201 w 12192001"/>
              <a:gd name="connsiteY76" fmla="*/ 1913800 h 2344739"/>
              <a:gd name="connsiteX77" fmla="*/ 8996232 w 12192001"/>
              <a:gd name="connsiteY77" fmla="*/ 1915011 h 2344739"/>
              <a:gd name="connsiteX78" fmla="*/ 8990394 w 12192001"/>
              <a:gd name="connsiteY78" fmla="*/ 1917072 h 2344739"/>
              <a:gd name="connsiteX79" fmla="*/ 8974337 w 12192001"/>
              <a:gd name="connsiteY79" fmla="*/ 1920298 h 2344739"/>
              <a:gd name="connsiteX80" fmla="*/ 8968011 w 12192001"/>
              <a:gd name="connsiteY80" fmla="*/ 1919598 h 2344739"/>
              <a:gd name="connsiteX81" fmla="*/ 8963048 w 12192001"/>
              <a:gd name="connsiteY81" fmla="*/ 1917373 h 2344739"/>
              <a:gd name="connsiteX82" fmla="*/ 8928988 w 12192001"/>
              <a:gd name="connsiteY82" fmla="*/ 1914185 h 2344739"/>
              <a:gd name="connsiteX83" fmla="*/ 8752444 w 12192001"/>
              <a:gd name="connsiteY83" fmla="*/ 1933417 h 2344739"/>
              <a:gd name="connsiteX84" fmla="*/ 8707847 w 12192001"/>
              <a:gd name="connsiteY84" fmla="*/ 1935518 h 2344739"/>
              <a:gd name="connsiteX85" fmla="*/ 8596071 w 12192001"/>
              <a:gd name="connsiteY85" fmla="*/ 1944090 h 2344739"/>
              <a:gd name="connsiteX86" fmla="*/ 8525230 w 12192001"/>
              <a:gd name="connsiteY86" fmla="*/ 1929248 h 2344739"/>
              <a:gd name="connsiteX87" fmla="*/ 8510983 w 12192001"/>
              <a:gd name="connsiteY87" fmla="*/ 1935163 h 2344739"/>
              <a:gd name="connsiteX88" fmla="*/ 8506167 w 12192001"/>
              <a:gd name="connsiteY88" fmla="*/ 1938164 h 2344739"/>
              <a:gd name="connsiteX89" fmla="*/ 8497968 w 12192001"/>
              <a:gd name="connsiteY89" fmla="*/ 1940902 h 2344739"/>
              <a:gd name="connsiteX90" fmla="*/ 8497594 w 12192001"/>
              <a:gd name="connsiteY90" fmla="*/ 1940723 h 2344739"/>
              <a:gd name="connsiteX91" fmla="*/ 8490249 w 12192001"/>
              <a:gd name="connsiteY91" fmla="*/ 1943773 h 2344739"/>
              <a:gd name="connsiteX92" fmla="*/ 8367182 w 12192001"/>
              <a:gd name="connsiteY92" fmla="*/ 1957815 h 2344739"/>
              <a:gd name="connsiteX93" fmla="*/ 8353799 w 12192001"/>
              <a:gd name="connsiteY93" fmla="*/ 1958009 h 2344739"/>
              <a:gd name="connsiteX94" fmla="*/ 8352373 w 12192001"/>
              <a:gd name="connsiteY94" fmla="*/ 1957169 h 2344739"/>
              <a:gd name="connsiteX95" fmla="*/ 8320104 w 12192001"/>
              <a:gd name="connsiteY95" fmla="*/ 1974587 h 2344739"/>
              <a:gd name="connsiteX96" fmla="*/ 8314433 w 12192001"/>
              <a:gd name="connsiteY96" fmla="*/ 1974913 h 2344739"/>
              <a:gd name="connsiteX97" fmla="*/ 8295174 w 12192001"/>
              <a:gd name="connsiteY97" fmla="*/ 1988808 h 2344739"/>
              <a:gd name="connsiteX98" fmla="*/ 8284276 w 12192001"/>
              <a:gd name="connsiteY98" fmla="*/ 1994631 h 2344739"/>
              <a:gd name="connsiteX99" fmla="*/ 8283150 w 12192001"/>
              <a:gd name="connsiteY99" fmla="*/ 1999074 h 2344739"/>
              <a:gd name="connsiteX100" fmla="*/ 8266076 w 12192001"/>
              <a:gd name="connsiteY100" fmla="*/ 2006249 h 2344739"/>
              <a:gd name="connsiteX101" fmla="*/ 8263377 w 12192001"/>
              <a:gd name="connsiteY101" fmla="*/ 2006019 h 2344739"/>
              <a:gd name="connsiteX102" fmla="*/ 8252033 w 12192001"/>
              <a:gd name="connsiteY102" fmla="*/ 2015862 h 2344739"/>
              <a:gd name="connsiteX103" fmla="*/ 8245834 w 12192001"/>
              <a:gd name="connsiteY103" fmla="*/ 2028854 h 2344739"/>
              <a:gd name="connsiteX104" fmla="*/ 8090272 w 12192001"/>
              <a:gd name="connsiteY104" fmla="*/ 2075015 h 2344739"/>
              <a:gd name="connsiteX105" fmla="*/ 7905407 w 12192001"/>
              <a:gd name="connsiteY105" fmla="*/ 2116988 h 2344739"/>
              <a:gd name="connsiteX106" fmla="*/ 7718745 w 12192001"/>
              <a:gd name="connsiteY106" fmla="*/ 2142703 h 2344739"/>
              <a:gd name="connsiteX107" fmla="*/ 7614347 w 12192001"/>
              <a:gd name="connsiteY107" fmla="*/ 2139232 h 2344739"/>
              <a:gd name="connsiteX108" fmla="*/ 7527543 w 12192001"/>
              <a:gd name="connsiteY108" fmla="*/ 2145060 h 2344739"/>
              <a:gd name="connsiteX109" fmla="*/ 7519571 w 12192001"/>
              <a:gd name="connsiteY109" fmla="*/ 2147613 h 2344739"/>
              <a:gd name="connsiteX110" fmla="*/ 7507411 w 12192001"/>
              <a:gd name="connsiteY110" fmla="*/ 2148948 h 2344739"/>
              <a:gd name="connsiteX111" fmla="*/ 7507040 w 12192001"/>
              <a:gd name="connsiteY111" fmla="*/ 2148621 h 2344739"/>
              <a:gd name="connsiteX112" fmla="*/ 7495795 w 12192001"/>
              <a:gd name="connsiteY112" fmla="*/ 2150573 h 2344739"/>
              <a:gd name="connsiteX113" fmla="*/ 7405391 w 12192001"/>
              <a:gd name="connsiteY113" fmla="*/ 2142468 h 2344739"/>
              <a:gd name="connsiteX114" fmla="*/ 7312180 w 12192001"/>
              <a:gd name="connsiteY114" fmla="*/ 2132873 h 2344739"/>
              <a:gd name="connsiteX115" fmla="*/ 7310853 w 12192001"/>
              <a:gd name="connsiteY115" fmla="*/ 2131431 h 2344739"/>
              <a:gd name="connsiteX116" fmla="*/ 7218559 w 12192001"/>
              <a:gd name="connsiteY116" fmla="*/ 2156680 h 2344739"/>
              <a:gd name="connsiteX117" fmla="*/ 7201101 w 12192001"/>
              <a:gd name="connsiteY117" fmla="*/ 2161230 h 2344739"/>
              <a:gd name="connsiteX118" fmla="*/ 7197004 w 12192001"/>
              <a:gd name="connsiteY118" fmla="*/ 2166588 h 2344739"/>
              <a:gd name="connsiteX119" fmla="*/ 7170808 w 12192001"/>
              <a:gd name="connsiteY119" fmla="*/ 2171236 h 2344739"/>
              <a:gd name="connsiteX120" fmla="*/ 7096988 w 12192001"/>
              <a:gd name="connsiteY120" fmla="*/ 2183464 h 2344739"/>
              <a:gd name="connsiteX121" fmla="*/ 7018496 w 12192001"/>
              <a:gd name="connsiteY121" fmla="*/ 2183090 h 2344739"/>
              <a:gd name="connsiteX122" fmla="*/ 6904146 w 12192001"/>
              <a:gd name="connsiteY122" fmla="*/ 2212596 h 2344739"/>
              <a:gd name="connsiteX123" fmla="*/ 6708222 w 12192001"/>
              <a:gd name="connsiteY123" fmla="*/ 2240551 h 2344739"/>
              <a:gd name="connsiteX124" fmla="*/ 6549454 w 12192001"/>
              <a:gd name="connsiteY124" fmla="*/ 2269327 h 2344739"/>
              <a:gd name="connsiteX125" fmla="*/ 6317560 w 12192001"/>
              <a:gd name="connsiteY125" fmla="*/ 2316127 h 2344739"/>
              <a:gd name="connsiteX126" fmla="*/ 6168674 w 12192001"/>
              <a:gd name="connsiteY126" fmla="*/ 2318214 h 2344739"/>
              <a:gd name="connsiteX127" fmla="*/ 6073848 w 12192001"/>
              <a:gd name="connsiteY127" fmla="*/ 2338676 h 2344739"/>
              <a:gd name="connsiteX128" fmla="*/ 6068529 w 12192001"/>
              <a:gd name="connsiteY128" fmla="*/ 2337139 h 2344739"/>
              <a:gd name="connsiteX129" fmla="*/ 6048638 w 12192001"/>
              <a:gd name="connsiteY129" fmla="*/ 2337822 h 2344739"/>
              <a:gd name="connsiteX130" fmla="*/ 6041285 w 12192001"/>
              <a:gd name="connsiteY130" fmla="*/ 2329473 h 2344739"/>
              <a:gd name="connsiteX131" fmla="*/ 6010090 w 12192001"/>
              <a:gd name="connsiteY131" fmla="*/ 2324380 h 2344739"/>
              <a:gd name="connsiteX132" fmla="*/ 5957375 w 12192001"/>
              <a:gd name="connsiteY132" fmla="*/ 2328024 h 2344739"/>
              <a:gd name="connsiteX133" fmla="*/ 5758919 w 12192001"/>
              <a:gd name="connsiteY133" fmla="*/ 2343716 h 2344739"/>
              <a:gd name="connsiteX134" fmla="*/ 5626960 w 12192001"/>
              <a:gd name="connsiteY134" fmla="*/ 2344739 h 2344739"/>
              <a:gd name="connsiteX135" fmla="*/ 5470906 w 12192001"/>
              <a:gd name="connsiteY135" fmla="*/ 2330719 h 2344739"/>
              <a:gd name="connsiteX136" fmla="*/ 5432761 w 12192001"/>
              <a:gd name="connsiteY136" fmla="*/ 2319466 h 2344739"/>
              <a:gd name="connsiteX137" fmla="*/ 5381669 w 12192001"/>
              <a:gd name="connsiteY137" fmla="*/ 2301764 h 2344739"/>
              <a:gd name="connsiteX138" fmla="*/ 5261764 w 12192001"/>
              <a:gd name="connsiteY138" fmla="*/ 2281347 h 2344739"/>
              <a:gd name="connsiteX139" fmla="*/ 5222961 w 12192001"/>
              <a:gd name="connsiteY139" fmla="*/ 2270223 h 2344739"/>
              <a:gd name="connsiteX140" fmla="*/ 5174660 w 12192001"/>
              <a:gd name="connsiteY140" fmla="*/ 2267233 h 2344739"/>
              <a:gd name="connsiteX141" fmla="*/ 5156554 w 12192001"/>
              <a:gd name="connsiteY141" fmla="*/ 2260010 h 2344739"/>
              <a:gd name="connsiteX142" fmla="*/ 5142599 w 12192001"/>
              <a:gd name="connsiteY142" fmla="*/ 2256610 h 2344739"/>
              <a:gd name="connsiteX143" fmla="*/ 5139596 w 12192001"/>
              <a:gd name="connsiteY143" fmla="*/ 2254509 h 2344739"/>
              <a:gd name="connsiteX144" fmla="*/ 5121659 w 12192001"/>
              <a:gd name="connsiteY144" fmla="*/ 2243656 h 2344739"/>
              <a:gd name="connsiteX145" fmla="*/ 5065790 w 12192001"/>
              <a:gd name="connsiteY145" fmla="*/ 2250227 h 2344739"/>
              <a:gd name="connsiteX146" fmla="*/ 5011514 w 12192001"/>
              <a:gd name="connsiteY146" fmla="*/ 2233846 h 2344739"/>
              <a:gd name="connsiteX147" fmla="*/ 4840441 w 12192001"/>
              <a:gd name="connsiteY147" fmla="*/ 2209829 h 2344739"/>
              <a:gd name="connsiteX148" fmla="*/ 4762447 w 12192001"/>
              <a:gd name="connsiteY148" fmla="*/ 2182061 h 2344739"/>
              <a:gd name="connsiteX149" fmla="*/ 4723186 w 12192001"/>
              <a:gd name="connsiteY149" fmla="*/ 2173047 h 2344739"/>
              <a:gd name="connsiteX150" fmla="*/ 4721176 w 12192001"/>
              <a:gd name="connsiteY150" fmla="*/ 2172298 h 2344739"/>
              <a:gd name="connsiteX151" fmla="*/ 4722111 w 12192001"/>
              <a:gd name="connsiteY151" fmla="*/ 2172087 h 2344739"/>
              <a:gd name="connsiteX152" fmla="*/ 4717202 w 12192001"/>
              <a:gd name="connsiteY152" fmla="*/ 2170817 h 2344739"/>
              <a:gd name="connsiteX153" fmla="*/ 4721176 w 12192001"/>
              <a:gd name="connsiteY153" fmla="*/ 2172298 h 2344739"/>
              <a:gd name="connsiteX154" fmla="*/ 4715526 w 12192001"/>
              <a:gd name="connsiteY154" fmla="*/ 2173573 h 2344739"/>
              <a:gd name="connsiteX155" fmla="*/ 4515814 w 12192001"/>
              <a:gd name="connsiteY155" fmla="*/ 2163671 h 2344739"/>
              <a:gd name="connsiteX156" fmla="*/ 4428543 w 12192001"/>
              <a:gd name="connsiteY156" fmla="*/ 2153020 h 2344739"/>
              <a:gd name="connsiteX157" fmla="*/ 4362875 w 12192001"/>
              <a:gd name="connsiteY157" fmla="*/ 2151674 h 2344739"/>
              <a:gd name="connsiteX158" fmla="*/ 4316966 w 12192001"/>
              <a:gd name="connsiteY158" fmla="*/ 2158289 h 2344739"/>
              <a:gd name="connsiteX159" fmla="*/ 4315110 w 12192001"/>
              <a:gd name="connsiteY159" fmla="*/ 2156948 h 2344739"/>
              <a:gd name="connsiteX160" fmla="*/ 4295144 w 12192001"/>
              <a:gd name="connsiteY160" fmla="*/ 2155069 h 2344739"/>
              <a:gd name="connsiteX161" fmla="*/ 4290064 w 12192001"/>
              <a:gd name="connsiteY161" fmla="*/ 2157986 h 2344739"/>
              <a:gd name="connsiteX162" fmla="*/ 4276142 w 12192001"/>
              <a:gd name="connsiteY162" fmla="*/ 2157740 h 2344739"/>
              <a:gd name="connsiteX163" fmla="*/ 4248117 w 12192001"/>
              <a:gd name="connsiteY163" fmla="*/ 2160064 h 2344739"/>
              <a:gd name="connsiteX164" fmla="*/ 4202051 w 12192001"/>
              <a:gd name="connsiteY164" fmla="*/ 2157269 h 2344739"/>
              <a:gd name="connsiteX165" fmla="*/ 4201745 w 12192001"/>
              <a:gd name="connsiteY165" fmla="*/ 2156010 h 2344739"/>
              <a:gd name="connsiteX166" fmla="*/ 4191248 w 12192001"/>
              <a:gd name="connsiteY166" fmla="*/ 2150376 h 2344739"/>
              <a:gd name="connsiteX167" fmla="*/ 4142745 w 12192001"/>
              <a:gd name="connsiteY167" fmla="*/ 2134511 h 2344739"/>
              <a:gd name="connsiteX168" fmla="*/ 4083097 w 12192001"/>
              <a:gd name="connsiteY168" fmla="*/ 2107978 h 2344739"/>
              <a:gd name="connsiteX169" fmla="*/ 4074546 w 12192001"/>
              <a:gd name="connsiteY169" fmla="*/ 2107143 h 2344739"/>
              <a:gd name="connsiteX170" fmla="*/ 4074427 w 12192001"/>
              <a:gd name="connsiteY170" fmla="*/ 2106844 h 2344739"/>
              <a:gd name="connsiteX171" fmla="*/ 4065510 w 12192001"/>
              <a:gd name="connsiteY171" fmla="*/ 2105400 h 2344739"/>
              <a:gd name="connsiteX172" fmla="*/ 4058954 w 12192001"/>
              <a:gd name="connsiteY172" fmla="*/ 2105618 h 2344739"/>
              <a:gd name="connsiteX173" fmla="*/ 4042364 w 12192001"/>
              <a:gd name="connsiteY173" fmla="*/ 2103997 h 2344739"/>
              <a:gd name="connsiteX174" fmla="*/ 4036997 w 12192001"/>
              <a:gd name="connsiteY174" fmla="*/ 2101563 h 2344739"/>
              <a:gd name="connsiteX175" fmla="*/ 4035363 w 12192001"/>
              <a:gd name="connsiteY175" fmla="*/ 2097896 h 2344739"/>
              <a:gd name="connsiteX176" fmla="*/ 4033778 w 12192001"/>
              <a:gd name="connsiteY176" fmla="*/ 2098131 h 2344739"/>
              <a:gd name="connsiteX177" fmla="*/ 4004538 w 12192001"/>
              <a:gd name="connsiteY177" fmla="*/ 2085563 h 2344739"/>
              <a:gd name="connsiteX178" fmla="*/ 3936846 w 12192001"/>
              <a:gd name="connsiteY178" fmla="*/ 2068106 h 2344739"/>
              <a:gd name="connsiteX179" fmla="*/ 3897275 w 12192001"/>
              <a:gd name="connsiteY179" fmla="*/ 2062451 h 2344739"/>
              <a:gd name="connsiteX180" fmla="*/ 3789760 w 12192001"/>
              <a:gd name="connsiteY180" fmla="*/ 2042213 h 2344739"/>
              <a:gd name="connsiteX181" fmla="*/ 3682513 w 12192001"/>
              <a:gd name="connsiteY181" fmla="*/ 2018290 h 2344739"/>
              <a:gd name="connsiteX182" fmla="*/ 3610035 w 12192001"/>
              <a:gd name="connsiteY182" fmla="*/ 1986019 h 2344739"/>
              <a:gd name="connsiteX183" fmla="*/ 3603855 w 12192001"/>
              <a:gd name="connsiteY183" fmla="*/ 1987381 h 2344739"/>
              <a:gd name="connsiteX184" fmla="*/ 3594736 w 12192001"/>
              <a:gd name="connsiteY184" fmla="*/ 1987545 h 2344739"/>
              <a:gd name="connsiteX185" fmla="*/ 3594501 w 12192001"/>
              <a:gd name="connsiteY185" fmla="*/ 1987276 h 2344739"/>
              <a:gd name="connsiteX186" fmla="*/ 3585978 w 12192001"/>
              <a:gd name="connsiteY186" fmla="*/ 1987966 h 2344739"/>
              <a:gd name="connsiteX187" fmla="*/ 3536135 w 12192001"/>
              <a:gd name="connsiteY187" fmla="*/ 1978267 h 2344739"/>
              <a:gd name="connsiteX188" fmla="*/ 3473223 w 12192001"/>
              <a:gd name="connsiteY188" fmla="*/ 1974606 h 2344739"/>
              <a:gd name="connsiteX189" fmla="*/ 3400728 w 12192001"/>
              <a:gd name="connsiteY189" fmla="*/ 1962558 h 2344739"/>
              <a:gd name="connsiteX190" fmla="*/ 3363888 w 12192001"/>
              <a:gd name="connsiteY190" fmla="*/ 1979510 h 2344739"/>
              <a:gd name="connsiteX191" fmla="*/ 3344026 w 12192001"/>
              <a:gd name="connsiteY191" fmla="*/ 1981192 h 2344739"/>
              <a:gd name="connsiteX192" fmla="*/ 3341698 w 12192001"/>
              <a:gd name="connsiteY192" fmla="*/ 1980217 h 2344739"/>
              <a:gd name="connsiteX193" fmla="*/ 3262356 w 12192001"/>
              <a:gd name="connsiteY193" fmla="*/ 1986094 h 2344739"/>
              <a:gd name="connsiteX194" fmla="*/ 3142556 w 12192001"/>
              <a:gd name="connsiteY194" fmla="*/ 1993869 h 2344739"/>
              <a:gd name="connsiteX195" fmla="*/ 3030291 w 12192001"/>
              <a:gd name="connsiteY195" fmla="*/ 1996512 h 2344739"/>
              <a:gd name="connsiteX196" fmla="*/ 2781569 w 12192001"/>
              <a:gd name="connsiteY196" fmla="*/ 2018333 h 2344739"/>
              <a:gd name="connsiteX197" fmla="*/ 2646527 w 12192001"/>
              <a:gd name="connsiteY197" fmla="*/ 2028869 h 2344739"/>
              <a:gd name="connsiteX198" fmla="*/ 2568028 w 12192001"/>
              <a:gd name="connsiteY198" fmla="*/ 2002628 h 2344739"/>
              <a:gd name="connsiteX199" fmla="*/ 2443255 w 12192001"/>
              <a:gd name="connsiteY199" fmla="*/ 2016529 h 2344739"/>
              <a:gd name="connsiteX200" fmla="*/ 2315112 w 12192001"/>
              <a:gd name="connsiteY200" fmla="*/ 2024996 h 2344739"/>
              <a:gd name="connsiteX201" fmla="*/ 2208578 w 12192001"/>
              <a:gd name="connsiteY201" fmla="*/ 2019763 h 2344739"/>
              <a:gd name="connsiteX202" fmla="*/ 2094665 w 12192001"/>
              <a:gd name="connsiteY202" fmla="*/ 2003052 h 2344739"/>
              <a:gd name="connsiteX203" fmla="*/ 1997356 w 12192001"/>
              <a:gd name="connsiteY203" fmla="*/ 1995032 h 2344739"/>
              <a:gd name="connsiteX204" fmla="*/ 1928172 w 12192001"/>
              <a:gd name="connsiteY204" fmla="*/ 2016977 h 2344739"/>
              <a:gd name="connsiteX205" fmla="*/ 1921650 w 12192001"/>
              <a:gd name="connsiteY205" fmla="*/ 2012146 h 2344739"/>
              <a:gd name="connsiteX206" fmla="*/ 1873080 w 12192001"/>
              <a:gd name="connsiteY206" fmla="*/ 2013741 h 2344739"/>
              <a:gd name="connsiteX207" fmla="*/ 1786655 w 12192001"/>
              <a:gd name="connsiteY207" fmla="*/ 2041363 h 2344739"/>
              <a:gd name="connsiteX208" fmla="*/ 1738204 w 12192001"/>
              <a:gd name="connsiteY208" fmla="*/ 2036312 h 2344739"/>
              <a:gd name="connsiteX209" fmla="*/ 1675071 w 12192001"/>
              <a:gd name="connsiteY209" fmla="*/ 2019963 h 2344739"/>
              <a:gd name="connsiteX210" fmla="*/ 1608669 w 12192001"/>
              <a:gd name="connsiteY210" fmla="*/ 2013066 h 2344739"/>
              <a:gd name="connsiteX211" fmla="*/ 1496110 w 12192001"/>
              <a:gd name="connsiteY211" fmla="*/ 1987476 h 2344739"/>
              <a:gd name="connsiteX212" fmla="*/ 1149979 w 12192001"/>
              <a:gd name="connsiteY212" fmla="*/ 1938041 h 2344739"/>
              <a:gd name="connsiteX213" fmla="*/ 858269 w 12192001"/>
              <a:gd name="connsiteY213" fmla="*/ 1928608 h 2344739"/>
              <a:gd name="connsiteX214" fmla="*/ 837540 w 12192001"/>
              <a:gd name="connsiteY214" fmla="*/ 1929821 h 2344739"/>
              <a:gd name="connsiteX215" fmla="*/ 816809 w 12192001"/>
              <a:gd name="connsiteY215" fmla="*/ 1927857 h 2344739"/>
              <a:gd name="connsiteX216" fmla="*/ 811506 w 12192001"/>
              <a:gd name="connsiteY216" fmla="*/ 1930751 h 2344739"/>
              <a:gd name="connsiteX217" fmla="*/ 797041 w 12192001"/>
              <a:gd name="connsiteY217" fmla="*/ 1930446 h 2344739"/>
              <a:gd name="connsiteX218" fmla="*/ 767901 w 12192001"/>
              <a:gd name="connsiteY218" fmla="*/ 1932653 h 2344739"/>
              <a:gd name="connsiteX219" fmla="*/ 763053 w 12192001"/>
              <a:gd name="connsiteY219" fmla="*/ 1930432 h 2344739"/>
              <a:gd name="connsiteX220" fmla="*/ 720047 w 12192001"/>
              <a:gd name="connsiteY220" fmla="*/ 1929661 h 2344739"/>
              <a:gd name="connsiteX221" fmla="*/ 719742 w 12192001"/>
              <a:gd name="connsiteY221" fmla="*/ 1928399 h 2344739"/>
              <a:gd name="connsiteX222" fmla="*/ 708875 w 12192001"/>
              <a:gd name="connsiteY222" fmla="*/ 1922722 h 2344739"/>
              <a:gd name="connsiteX223" fmla="*/ 596792 w 12192001"/>
              <a:gd name="connsiteY223" fmla="*/ 1879864 h 2344739"/>
              <a:gd name="connsiteX224" fmla="*/ 578535 w 12192001"/>
              <a:gd name="connsiteY224" fmla="*/ 1877212 h 2344739"/>
              <a:gd name="connsiteX225" fmla="*/ 571717 w 12192001"/>
              <a:gd name="connsiteY225" fmla="*/ 1877401 h 2344739"/>
              <a:gd name="connsiteX226" fmla="*/ 445099 w 12192001"/>
              <a:gd name="connsiteY226" fmla="*/ 1839371 h 2344739"/>
              <a:gd name="connsiteX227" fmla="*/ 404015 w 12192001"/>
              <a:gd name="connsiteY227" fmla="*/ 1833548 h 2344739"/>
              <a:gd name="connsiteX228" fmla="*/ 292435 w 12192001"/>
              <a:gd name="connsiteY228" fmla="*/ 1812852 h 2344739"/>
              <a:gd name="connsiteX229" fmla="*/ 118381 w 12192001"/>
              <a:gd name="connsiteY229" fmla="*/ 1761047 h 2344739"/>
              <a:gd name="connsiteX230" fmla="*/ 15526 w 12192001"/>
              <a:gd name="connsiteY230" fmla="*/ 1758191 h 2344739"/>
              <a:gd name="connsiteX231" fmla="*/ 2 w 12192001"/>
              <a:gd name="connsiteY231" fmla="*/ 1752722 h 2344739"/>
              <a:gd name="connsiteX232" fmla="*/ 1 w 12192001"/>
              <a:gd name="connsiteY232" fmla="*/ 762497 h 2344739"/>
              <a:gd name="connsiteX233" fmla="*/ 0 w 12192001"/>
              <a:gd name="connsiteY233" fmla="*/ 762497 h 2344739"/>
              <a:gd name="connsiteX234" fmla="*/ 0 w 12192001"/>
              <a:gd name="connsiteY234" fmla="*/ 222213 h 2344739"/>
              <a:gd name="connsiteX235" fmla="*/ 0 w 12192001"/>
              <a:gd name="connsiteY235"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306392 w 12192001"/>
              <a:gd name="connsiteY25" fmla="*/ 1272239 h 2344739"/>
              <a:gd name="connsiteX26" fmla="*/ 11522499 w 12192001"/>
              <a:gd name="connsiteY26" fmla="*/ 1207528 h 2344739"/>
              <a:gd name="connsiteX27" fmla="*/ 11245526 w 12192001"/>
              <a:gd name="connsiteY27" fmla="*/ 1274060 h 2344739"/>
              <a:gd name="connsiteX28" fmla="*/ 11227161 w 12192001"/>
              <a:gd name="connsiteY28" fmla="*/ 1276236 h 2344739"/>
              <a:gd name="connsiteX29" fmla="*/ 11216939 w 12192001"/>
              <a:gd name="connsiteY29" fmla="*/ 1275961 h 2344739"/>
              <a:gd name="connsiteX30" fmla="*/ 11216036 w 12192001"/>
              <a:gd name="connsiteY30" fmla="*/ 1275018 h 2344739"/>
              <a:gd name="connsiteX31" fmla="*/ 11187737 w 12192001"/>
              <a:gd name="connsiteY31" fmla="*/ 1292383 h 2344739"/>
              <a:gd name="connsiteX32" fmla="*/ 11183353 w 12192001"/>
              <a:gd name="connsiteY32" fmla="*/ 1292525 h 2344739"/>
              <a:gd name="connsiteX33" fmla="*/ 11165706 w 12192001"/>
              <a:gd name="connsiteY33" fmla="*/ 1306612 h 2344739"/>
              <a:gd name="connsiteX34" fmla="*/ 11156163 w 12192001"/>
              <a:gd name="connsiteY34" fmla="*/ 1312414 h 2344739"/>
              <a:gd name="connsiteX35" fmla="*/ 11154348 w 12192001"/>
              <a:gd name="connsiteY35" fmla="*/ 1317097 h 2344739"/>
              <a:gd name="connsiteX36" fmla="*/ 11139813 w 12192001"/>
              <a:gd name="connsiteY36" fmla="*/ 1324115 h 2344739"/>
              <a:gd name="connsiteX37" fmla="*/ 11137813 w 12192001"/>
              <a:gd name="connsiteY37" fmla="*/ 1323772 h 2344739"/>
              <a:gd name="connsiteX38" fmla="*/ 11127060 w 12192001"/>
              <a:gd name="connsiteY38" fmla="*/ 1333832 h 2344739"/>
              <a:gd name="connsiteX39" fmla="*/ 11119543 w 12192001"/>
              <a:gd name="connsiteY39" fmla="*/ 1347424 h 2344739"/>
              <a:gd name="connsiteX40" fmla="*/ 10893535 w 12192001"/>
              <a:gd name="connsiteY40" fmla="*/ 1473399 h 2344739"/>
              <a:gd name="connsiteX41" fmla="*/ 10772152 w 12192001"/>
              <a:gd name="connsiteY41" fmla="*/ 1523191 h 2344739"/>
              <a:gd name="connsiteX42" fmla="*/ 10626520 w 12192001"/>
              <a:gd name="connsiteY42" fmla="*/ 1559229 h 2344739"/>
              <a:gd name="connsiteX43" fmla="*/ 10580747 w 12192001"/>
              <a:gd name="connsiteY43" fmla="*/ 1568689 h 2344739"/>
              <a:gd name="connsiteX44" fmla="*/ 10546642 w 12192001"/>
              <a:gd name="connsiteY44" fmla="*/ 1598423 h 2344739"/>
              <a:gd name="connsiteX45" fmla="*/ 10528495 w 12192001"/>
              <a:gd name="connsiteY45" fmla="*/ 1596907 h 2344739"/>
              <a:gd name="connsiteX46" fmla="*/ 10525298 w 12192001"/>
              <a:gd name="connsiteY46" fmla="*/ 1596411 h 2344739"/>
              <a:gd name="connsiteX47" fmla="*/ 10513981 w 12192001"/>
              <a:gd name="connsiteY47" fmla="*/ 1599537 h 2344739"/>
              <a:gd name="connsiteX48" fmla="*/ 10490587 w 12192001"/>
              <a:gd name="connsiteY48" fmla="*/ 1594156 h 2344739"/>
              <a:gd name="connsiteX49" fmla="*/ 10470270 w 12192001"/>
              <a:gd name="connsiteY49" fmla="*/ 1601693 h 2344739"/>
              <a:gd name="connsiteX50" fmla="*/ 10375894 w 12192001"/>
              <a:gd name="connsiteY50" fmla="*/ 1644598 h 2344739"/>
              <a:gd name="connsiteX51" fmla="*/ 10318190 w 12192001"/>
              <a:gd name="connsiteY51" fmla="*/ 1666221 h 2344739"/>
              <a:gd name="connsiteX52" fmla="*/ 10294319 w 12192001"/>
              <a:gd name="connsiteY52" fmla="*/ 1668079 h 2344739"/>
              <a:gd name="connsiteX53" fmla="*/ 10262295 w 12192001"/>
              <a:gd name="connsiteY53" fmla="*/ 1674948 h 2344739"/>
              <a:gd name="connsiteX54" fmla="*/ 10204270 w 12192001"/>
              <a:gd name="connsiteY54" fmla="*/ 1682149 h 2344739"/>
              <a:gd name="connsiteX55" fmla="*/ 10176611 w 12192001"/>
              <a:gd name="connsiteY55" fmla="*/ 1692943 h 2344739"/>
              <a:gd name="connsiteX56" fmla="*/ 10163922 w 12192001"/>
              <a:gd name="connsiteY56" fmla="*/ 1693739 h 2344739"/>
              <a:gd name="connsiteX57" fmla="*/ 10155160 w 12192001"/>
              <a:gd name="connsiteY57" fmla="*/ 1707487 h 2344739"/>
              <a:gd name="connsiteX58" fmla="*/ 10117119 w 12192001"/>
              <a:gd name="connsiteY58" fmla="*/ 1731142 h 2344739"/>
              <a:gd name="connsiteX59" fmla="*/ 10100445 w 12192001"/>
              <a:gd name="connsiteY59" fmla="*/ 1742432 h 2344739"/>
              <a:gd name="connsiteX60" fmla="*/ 10082169 w 12192001"/>
              <a:gd name="connsiteY60" fmla="*/ 1743296 h 2344739"/>
              <a:gd name="connsiteX61" fmla="*/ 10039240 w 12192001"/>
              <a:gd name="connsiteY61" fmla="*/ 1741632 h 2344739"/>
              <a:gd name="connsiteX62" fmla="*/ 9960019 w 12192001"/>
              <a:gd name="connsiteY62" fmla="*/ 1757147 h 2344739"/>
              <a:gd name="connsiteX63" fmla="*/ 9847792 w 12192001"/>
              <a:gd name="connsiteY63" fmla="*/ 1763915 h 2344739"/>
              <a:gd name="connsiteX64" fmla="*/ 9728309 w 12192001"/>
              <a:gd name="connsiteY64" fmla="*/ 1784122 h 2344739"/>
              <a:gd name="connsiteX65" fmla="*/ 9584507 w 12192001"/>
              <a:gd name="connsiteY65" fmla="*/ 1795542 h 2344739"/>
              <a:gd name="connsiteX66" fmla="*/ 9343052 w 12192001"/>
              <a:gd name="connsiteY66" fmla="*/ 1841244 h 2344739"/>
              <a:gd name="connsiteX67" fmla="*/ 9231370 w 12192001"/>
              <a:gd name="connsiteY67" fmla="*/ 1893149 h 2344739"/>
              <a:gd name="connsiteX68" fmla="*/ 9194810 w 12192001"/>
              <a:gd name="connsiteY68" fmla="*/ 1903228 h 2344739"/>
              <a:gd name="connsiteX69" fmla="*/ 9189246 w 12192001"/>
              <a:gd name="connsiteY69" fmla="*/ 1912467 h 2344739"/>
              <a:gd name="connsiteX70" fmla="*/ 9151232 w 12192001"/>
              <a:gd name="connsiteY70" fmla="*/ 1923669 h 2344739"/>
              <a:gd name="connsiteX71" fmla="*/ 9150210 w 12192001"/>
              <a:gd name="connsiteY71" fmla="*/ 1922604 h 2344739"/>
              <a:gd name="connsiteX72" fmla="*/ 9137318 w 12192001"/>
              <a:gd name="connsiteY72" fmla="*/ 1920435 h 2344739"/>
              <a:gd name="connsiteX73" fmla="*/ 9113812 w 12192001"/>
              <a:gd name="connsiteY73" fmla="*/ 1919069 h 2344739"/>
              <a:gd name="connsiteX74" fmla="*/ 9053453 w 12192001"/>
              <a:gd name="connsiteY74" fmla="*/ 1910755 h 2344739"/>
              <a:gd name="connsiteX75" fmla="*/ 9005486 w 12192001"/>
              <a:gd name="connsiteY75" fmla="*/ 1914040 h 2344739"/>
              <a:gd name="connsiteX76" fmla="*/ 9005201 w 12192001"/>
              <a:gd name="connsiteY76" fmla="*/ 1913800 h 2344739"/>
              <a:gd name="connsiteX77" fmla="*/ 8996232 w 12192001"/>
              <a:gd name="connsiteY77" fmla="*/ 1915011 h 2344739"/>
              <a:gd name="connsiteX78" fmla="*/ 8990394 w 12192001"/>
              <a:gd name="connsiteY78" fmla="*/ 1917072 h 2344739"/>
              <a:gd name="connsiteX79" fmla="*/ 8974337 w 12192001"/>
              <a:gd name="connsiteY79" fmla="*/ 1920298 h 2344739"/>
              <a:gd name="connsiteX80" fmla="*/ 8968011 w 12192001"/>
              <a:gd name="connsiteY80" fmla="*/ 1919598 h 2344739"/>
              <a:gd name="connsiteX81" fmla="*/ 8963048 w 12192001"/>
              <a:gd name="connsiteY81" fmla="*/ 1917373 h 2344739"/>
              <a:gd name="connsiteX82" fmla="*/ 8928988 w 12192001"/>
              <a:gd name="connsiteY82" fmla="*/ 1914185 h 2344739"/>
              <a:gd name="connsiteX83" fmla="*/ 8752444 w 12192001"/>
              <a:gd name="connsiteY83" fmla="*/ 1933417 h 2344739"/>
              <a:gd name="connsiteX84" fmla="*/ 8707847 w 12192001"/>
              <a:gd name="connsiteY84" fmla="*/ 1935518 h 2344739"/>
              <a:gd name="connsiteX85" fmla="*/ 8596071 w 12192001"/>
              <a:gd name="connsiteY85" fmla="*/ 1944090 h 2344739"/>
              <a:gd name="connsiteX86" fmla="*/ 8525230 w 12192001"/>
              <a:gd name="connsiteY86" fmla="*/ 1929248 h 2344739"/>
              <a:gd name="connsiteX87" fmla="*/ 8510983 w 12192001"/>
              <a:gd name="connsiteY87" fmla="*/ 1935163 h 2344739"/>
              <a:gd name="connsiteX88" fmla="*/ 8506167 w 12192001"/>
              <a:gd name="connsiteY88" fmla="*/ 1938164 h 2344739"/>
              <a:gd name="connsiteX89" fmla="*/ 8497968 w 12192001"/>
              <a:gd name="connsiteY89" fmla="*/ 1940902 h 2344739"/>
              <a:gd name="connsiteX90" fmla="*/ 8497594 w 12192001"/>
              <a:gd name="connsiteY90" fmla="*/ 1940723 h 2344739"/>
              <a:gd name="connsiteX91" fmla="*/ 8490249 w 12192001"/>
              <a:gd name="connsiteY91" fmla="*/ 1943773 h 2344739"/>
              <a:gd name="connsiteX92" fmla="*/ 8367182 w 12192001"/>
              <a:gd name="connsiteY92" fmla="*/ 1957815 h 2344739"/>
              <a:gd name="connsiteX93" fmla="*/ 8353799 w 12192001"/>
              <a:gd name="connsiteY93" fmla="*/ 1958009 h 2344739"/>
              <a:gd name="connsiteX94" fmla="*/ 8352373 w 12192001"/>
              <a:gd name="connsiteY94" fmla="*/ 1957169 h 2344739"/>
              <a:gd name="connsiteX95" fmla="*/ 8320104 w 12192001"/>
              <a:gd name="connsiteY95" fmla="*/ 1974587 h 2344739"/>
              <a:gd name="connsiteX96" fmla="*/ 8314433 w 12192001"/>
              <a:gd name="connsiteY96" fmla="*/ 1974913 h 2344739"/>
              <a:gd name="connsiteX97" fmla="*/ 8295174 w 12192001"/>
              <a:gd name="connsiteY97" fmla="*/ 1988808 h 2344739"/>
              <a:gd name="connsiteX98" fmla="*/ 8284276 w 12192001"/>
              <a:gd name="connsiteY98" fmla="*/ 1994631 h 2344739"/>
              <a:gd name="connsiteX99" fmla="*/ 8283150 w 12192001"/>
              <a:gd name="connsiteY99" fmla="*/ 1999074 h 2344739"/>
              <a:gd name="connsiteX100" fmla="*/ 8266076 w 12192001"/>
              <a:gd name="connsiteY100" fmla="*/ 2006249 h 2344739"/>
              <a:gd name="connsiteX101" fmla="*/ 8263377 w 12192001"/>
              <a:gd name="connsiteY101" fmla="*/ 2006019 h 2344739"/>
              <a:gd name="connsiteX102" fmla="*/ 8252033 w 12192001"/>
              <a:gd name="connsiteY102" fmla="*/ 2015862 h 2344739"/>
              <a:gd name="connsiteX103" fmla="*/ 8245834 w 12192001"/>
              <a:gd name="connsiteY103" fmla="*/ 2028854 h 2344739"/>
              <a:gd name="connsiteX104" fmla="*/ 8090272 w 12192001"/>
              <a:gd name="connsiteY104" fmla="*/ 2075015 h 2344739"/>
              <a:gd name="connsiteX105" fmla="*/ 7905407 w 12192001"/>
              <a:gd name="connsiteY105" fmla="*/ 2116988 h 2344739"/>
              <a:gd name="connsiteX106" fmla="*/ 7718745 w 12192001"/>
              <a:gd name="connsiteY106" fmla="*/ 2142703 h 2344739"/>
              <a:gd name="connsiteX107" fmla="*/ 7614347 w 12192001"/>
              <a:gd name="connsiteY107" fmla="*/ 2139232 h 2344739"/>
              <a:gd name="connsiteX108" fmla="*/ 7527543 w 12192001"/>
              <a:gd name="connsiteY108" fmla="*/ 2145060 h 2344739"/>
              <a:gd name="connsiteX109" fmla="*/ 7519571 w 12192001"/>
              <a:gd name="connsiteY109" fmla="*/ 2147613 h 2344739"/>
              <a:gd name="connsiteX110" fmla="*/ 7507411 w 12192001"/>
              <a:gd name="connsiteY110" fmla="*/ 2148948 h 2344739"/>
              <a:gd name="connsiteX111" fmla="*/ 7507040 w 12192001"/>
              <a:gd name="connsiteY111" fmla="*/ 2148621 h 2344739"/>
              <a:gd name="connsiteX112" fmla="*/ 7495795 w 12192001"/>
              <a:gd name="connsiteY112" fmla="*/ 2150573 h 2344739"/>
              <a:gd name="connsiteX113" fmla="*/ 7405391 w 12192001"/>
              <a:gd name="connsiteY113" fmla="*/ 2142468 h 2344739"/>
              <a:gd name="connsiteX114" fmla="*/ 7312180 w 12192001"/>
              <a:gd name="connsiteY114" fmla="*/ 2132873 h 2344739"/>
              <a:gd name="connsiteX115" fmla="*/ 7310853 w 12192001"/>
              <a:gd name="connsiteY115" fmla="*/ 2131431 h 2344739"/>
              <a:gd name="connsiteX116" fmla="*/ 7218559 w 12192001"/>
              <a:gd name="connsiteY116" fmla="*/ 2156680 h 2344739"/>
              <a:gd name="connsiteX117" fmla="*/ 7201101 w 12192001"/>
              <a:gd name="connsiteY117" fmla="*/ 2161230 h 2344739"/>
              <a:gd name="connsiteX118" fmla="*/ 7197004 w 12192001"/>
              <a:gd name="connsiteY118" fmla="*/ 2166588 h 2344739"/>
              <a:gd name="connsiteX119" fmla="*/ 7170808 w 12192001"/>
              <a:gd name="connsiteY119" fmla="*/ 2171236 h 2344739"/>
              <a:gd name="connsiteX120" fmla="*/ 7096988 w 12192001"/>
              <a:gd name="connsiteY120" fmla="*/ 2183464 h 2344739"/>
              <a:gd name="connsiteX121" fmla="*/ 7018496 w 12192001"/>
              <a:gd name="connsiteY121" fmla="*/ 2183090 h 2344739"/>
              <a:gd name="connsiteX122" fmla="*/ 6904146 w 12192001"/>
              <a:gd name="connsiteY122" fmla="*/ 2212596 h 2344739"/>
              <a:gd name="connsiteX123" fmla="*/ 6708222 w 12192001"/>
              <a:gd name="connsiteY123" fmla="*/ 2240551 h 2344739"/>
              <a:gd name="connsiteX124" fmla="*/ 6549454 w 12192001"/>
              <a:gd name="connsiteY124" fmla="*/ 2269327 h 2344739"/>
              <a:gd name="connsiteX125" fmla="*/ 6317560 w 12192001"/>
              <a:gd name="connsiteY125" fmla="*/ 2316127 h 2344739"/>
              <a:gd name="connsiteX126" fmla="*/ 6168674 w 12192001"/>
              <a:gd name="connsiteY126" fmla="*/ 2318214 h 2344739"/>
              <a:gd name="connsiteX127" fmla="*/ 6073848 w 12192001"/>
              <a:gd name="connsiteY127" fmla="*/ 2338676 h 2344739"/>
              <a:gd name="connsiteX128" fmla="*/ 6068529 w 12192001"/>
              <a:gd name="connsiteY128" fmla="*/ 2337139 h 2344739"/>
              <a:gd name="connsiteX129" fmla="*/ 6048638 w 12192001"/>
              <a:gd name="connsiteY129" fmla="*/ 2337822 h 2344739"/>
              <a:gd name="connsiteX130" fmla="*/ 6041285 w 12192001"/>
              <a:gd name="connsiteY130" fmla="*/ 2329473 h 2344739"/>
              <a:gd name="connsiteX131" fmla="*/ 6010090 w 12192001"/>
              <a:gd name="connsiteY131" fmla="*/ 2324380 h 2344739"/>
              <a:gd name="connsiteX132" fmla="*/ 5957375 w 12192001"/>
              <a:gd name="connsiteY132" fmla="*/ 2328024 h 2344739"/>
              <a:gd name="connsiteX133" fmla="*/ 5758919 w 12192001"/>
              <a:gd name="connsiteY133" fmla="*/ 2343716 h 2344739"/>
              <a:gd name="connsiteX134" fmla="*/ 5626960 w 12192001"/>
              <a:gd name="connsiteY134" fmla="*/ 2344739 h 2344739"/>
              <a:gd name="connsiteX135" fmla="*/ 5470906 w 12192001"/>
              <a:gd name="connsiteY135" fmla="*/ 2330719 h 2344739"/>
              <a:gd name="connsiteX136" fmla="*/ 5432761 w 12192001"/>
              <a:gd name="connsiteY136" fmla="*/ 2319466 h 2344739"/>
              <a:gd name="connsiteX137" fmla="*/ 5381669 w 12192001"/>
              <a:gd name="connsiteY137" fmla="*/ 2301764 h 2344739"/>
              <a:gd name="connsiteX138" fmla="*/ 5261764 w 12192001"/>
              <a:gd name="connsiteY138" fmla="*/ 2281347 h 2344739"/>
              <a:gd name="connsiteX139" fmla="*/ 5222961 w 12192001"/>
              <a:gd name="connsiteY139" fmla="*/ 2270223 h 2344739"/>
              <a:gd name="connsiteX140" fmla="*/ 5174660 w 12192001"/>
              <a:gd name="connsiteY140" fmla="*/ 2267233 h 2344739"/>
              <a:gd name="connsiteX141" fmla="*/ 5156554 w 12192001"/>
              <a:gd name="connsiteY141" fmla="*/ 2260010 h 2344739"/>
              <a:gd name="connsiteX142" fmla="*/ 5142599 w 12192001"/>
              <a:gd name="connsiteY142" fmla="*/ 2256610 h 2344739"/>
              <a:gd name="connsiteX143" fmla="*/ 5139596 w 12192001"/>
              <a:gd name="connsiteY143" fmla="*/ 2254509 h 2344739"/>
              <a:gd name="connsiteX144" fmla="*/ 5121659 w 12192001"/>
              <a:gd name="connsiteY144" fmla="*/ 2243656 h 2344739"/>
              <a:gd name="connsiteX145" fmla="*/ 5065790 w 12192001"/>
              <a:gd name="connsiteY145" fmla="*/ 2250227 h 2344739"/>
              <a:gd name="connsiteX146" fmla="*/ 5011514 w 12192001"/>
              <a:gd name="connsiteY146" fmla="*/ 2233846 h 2344739"/>
              <a:gd name="connsiteX147" fmla="*/ 4840441 w 12192001"/>
              <a:gd name="connsiteY147" fmla="*/ 2209829 h 2344739"/>
              <a:gd name="connsiteX148" fmla="*/ 4762447 w 12192001"/>
              <a:gd name="connsiteY148" fmla="*/ 2182061 h 2344739"/>
              <a:gd name="connsiteX149" fmla="*/ 4723186 w 12192001"/>
              <a:gd name="connsiteY149" fmla="*/ 2173047 h 2344739"/>
              <a:gd name="connsiteX150" fmla="*/ 4721176 w 12192001"/>
              <a:gd name="connsiteY150" fmla="*/ 2172298 h 2344739"/>
              <a:gd name="connsiteX151" fmla="*/ 4722111 w 12192001"/>
              <a:gd name="connsiteY151" fmla="*/ 2172087 h 2344739"/>
              <a:gd name="connsiteX152" fmla="*/ 4717202 w 12192001"/>
              <a:gd name="connsiteY152" fmla="*/ 2170817 h 2344739"/>
              <a:gd name="connsiteX153" fmla="*/ 4721176 w 12192001"/>
              <a:gd name="connsiteY153" fmla="*/ 2172298 h 2344739"/>
              <a:gd name="connsiteX154" fmla="*/ 4715526 w 12192001"/>
              <a:gd name="connsiteY154" fmla="*/ 2173573 h 2344739"/>
              <a:gd name="connsiteX155" fmla="*/ 4515814 w 12192001"/>
              <a:gd name="connsiteY155" fmla="*/ 2163671 h 2344739"/>
              <a:gd name="connsiteX156" fmla="*/ 4428543 w 12192001"/>
              <a:gd name="connsiteY156" fmla="*/ 2153020 h 2344739"/>
              <a:gd name="connsiteX157" fmla="*/ 4362875 w 12192001"/>
              <a:gd name="connsiteY157" fmla="*/ 2151674 h 2344739"/>
              <a:gd name="connsiteX158" fmla="*/ 4316966 w 12192001"/>
              <a:gd name="connsiteY158" fmla="*/ 2158289 h 2344739"/>
              <a:gd name="connsiteX159" fmla="*/ 4315110 w 12192001"/>
              <a:gd name="connsiteY159" fmla="*/ 2156948 h 2344739"/>
              <a:gd name="connsiteX160" fmla="*/ 4295144 w 12192001"/>
              <a:gd name="connsiteY160" fmla="*/ 2155069 h 2344739"/>
              <a:gd name="connsiteX161" fmla="*/ 4290064 w 12192001"/>
              <a:gd name="connsiteY161" fmla="*/ 2157986 h 2344739"/>
              <a:gd name="connsiteX162" fmla="*/ 4276142 w 12192001"/>
              <a:gd name="connsiteY162" fmla="*/ 2157740 h 2344739"/>
              <a:gd name="connsiteX163" fmla="*/ 4248117 w 12192001"/>
              <a:gd name="connsiteY163" fmla="*/ 2160064 h 2344739"/>
              <a:gd name="connsiteX164" fmla="*/ 4202051 w 12192001"/>
              <a:gd name="connsiteY164" fmla="*/ 2157269 h 2344739"/>
              <a:gd name="connsiteX165" fmla="*/ 4201745 w 12192001"/>
              <a:gd name="connsiteY165" fmla="*/ 2156010 h 2344739"/>
              <a:gd name="connsiteX166" fmla="*/ 4191248 w 12192001"/>
              <a:gd name="connsiteY166" fmla="*/ 2150376 h 2344739"/>
              <a:gd name="connsiteX167" fmla="*/ 4142745 w 12192001"/>
              <a:gd name="connsiteY167" fmla="*/ 2134511 h 2344739"/>
              <a:gd name="connsiteX168" fmla="*/ 4083097 w 12192001"/>
              <a:gd name="connsiteY168" fmla="*/ 2107978 h 2344739"/>
              <a:gd name="connsiteX169" fmla="*/ 4074546 w 12192001"/>
              <a:gd name="connsiteY169" fmla="*/ 2107143 h 2344739"/>
              <a:gd name="connsiteX170" fmla="*/ 4074427 w 12192001"/>
              <a:gd name="connsiteY170" fmla="*/ 2106844 h 2344739"/>
              <a:gd name="connsiteX171" fmla="*/ 4065510 w 12192001"/>
              <a:gd name="connsiteY171" fmla="*/ 2105400 h 2344739"/>
              <a:gd name="connsiteX172" fmla="*/ 4058954 w 12192001"/>
              <a:gd name="connsiteY172" fmla="*/ 2105618 h 2344739"/>
              <a:gd name="connsiteX173" fmla="*/ 4042364 w 12192001"/>
              <a:gd name="connsiteY173" fmla="*/ 2103997 h 2344739"/>
              <a:gd name="connsiteX174" fmla="*/ 4036997 w 12192001"/>
              <a:gd name="connsiteY174" fmla="*/ 2101563 h 2344739"/>
              <a:gd name="connsiteX175" fmla="*/ 4035363 w 12192001"/>
              <a:gd name="connsiteY175" fmla="*/ 2097896 h 2344739"/>
              <a:gd name="connsiteX176" fmla="*/ 4033778 w 12192001"/>
              <a:gd name="connsiteY176" fmla="*/ 2098131 h 2344739"/>
              <a:gd name="connsiteX177" fmla="*/ 4004538 w 12192001"/>
              <a:gd name="connsiteY177" fmla="*/ 2085563 h 2344739"/>
              <a:gd name="connsiteX178" fmla="*/ 3936846 w 12192001"/>
              <a:gd name="connsiteY178" fmla="*/ 2068106 h 2344739"/>
              <a:gd name="connsiteX179" fmla="*/ 3897275 w 12192001"/>
              <a:gd name="connsiteY179" fmla="*/ 2062451 h 2344739"/>
              <a:gd name="connsiteX180" fmla="*/ 3789760 w 12192001"/>
              <a:gd name="connsiteY180" fmla="*/ 2042213 h 2344739"/>
              <a:gd name="connsiteX181" fmla="*/ 3682513 w 12192001"/>
              <a:gd name="connsiteY181" fmla="*/ 2018290 h 2344739"/>
              <a:gd name="connsiteX182" fmla="*/ 3610035 w 12192001"/>
              <a:gd name="connsiteY182" fmla="*/ 1986019 h 2344739"/>
              <a:gd name="connsiteX183" fmla="*/ 3603855 w 12192001"/>
              <a:gd name="connsiteY183" fmla="*/ 1987381 h 2344739"/>
              <a:gd name="connsiteX184" fmla="*/ 3594736 w 12192001"/>
              <a:gd name="connsiteY184" fmla="*/ 1987545 h 2344739"/>
              <a:gd name="connsiteX185" fmla="*/ 3594501 w 12192001"/>
              <a:gd name="connsiteY185" fmla="*/ 1987276 h 2344739"/>
              <a:gd name="connsiteX186" fmla="*/ 3585978 w 12192001"/>
              <a:gd name="connsiteY186" fmla="*/ 1987966 h 2344739"/>
              <a:gd name="connsiteX187" fmla="*/ 3536135 w 12192001"/>
              <a:gd name="connsiteY187" fmla="*/ 1978267 h 2344739"/>
              <a:gd name="connsiteX188" fmla="*/ 3473223 w 12192001"/>
              <a:gd name="connsiteY188" fmla="*/ 1974606 h 2344739"/>
              <a:gd name="connsiteX189" fmla="*/ 3400728 w 12192001"/>
              <a:gd name="connsiteY189" fmla="*/ 1962558 h 2344739"/>
              <a:gd name="connsiteX190" fmla="*/ 3363888 w 12192001"/>
              <a:gd name="connsiteY190" fmla="*/ 1979510 h 2344739"/>
              <a:gd name="connsiteX191" fmla="*/ 3344026 w 12192001"/>
              <a:gd name="connsiteY191" fmla="*/ 1981192 h 2344739"/>
              <a:gd name="connsiteX192" fmla="*/ 3341698 w 12192001"/>
              <a:gd name="connsiteY192" fmla="*/ 1980217 h 2344739"/>
              <a:gd name="connsiteX193" fmla="*/ 3262356 w 12192001"/>
              <a:gd name="connsiteY193" fmla="*/ 1986094 h 2344739"/>
              <a:gd name="connsiteX194" fmla="*/ 3142556 w 12192001"/>
              <a:gd name="connsiteY194" fmla="*/ 1993869 h 2344739"/>
              <a:gd name="connsiteX195" fmla="*/ 3030291 w 12192001"/>
              <a:gd name="connsiteY195" fmla="*/ 1996512 h 2344739"/>
              <a:gd name="connsiteX196" fmla="*/ 2781569 w 12192001"/>
              <a:gd name="connsiteY196" fmla="*/ 2018333 h 2344739"/>
              <a:gd name="connsiteX197" fmla="*/ 2646527 w 12192001"/>
              <a:gd name="connsiteY197" fmla="*/ 2028869 h 2344739"/>
              <a:gd name="connsiteX198" fmla="*/ 2568028 w 12192001"/>
              <a:gd name="connsiteY198" fmla="*/ 2002628 h 2344739"/>
              <a:gd name="connsiteX199" fmla="*/ 2443255 w 12192001"/>
              <a:gd name="connsiteY199" fmla="*/ 2016529 h 2344739"/>
              <a:gd name="connsiteX200" fmla="*/ 2315112 w 12192001"/>
              <a:gd name="connsiteY200" fmla="*/ 2024996 h 2344739"/>
              <a:gd name="connsiteX201" fmla="*/ 2208578 w 12192001"/>
              <a:gd name="connsiteY201" fmla="*/ 2019763 h 2344739"/>
              <a:gd name="connsiteX202" fmla="*/ 2094665 w 12192001"/>
              <a:gd name="connsiteY202" fmla="*/ 2003052 h 2344739"/>
              <a:gd name="connsiteX203" fmla="*/ 1997356 w 12192001"/>
              <a:gd name="connsiteY203" fmla="*/ 1995032 h 2344739"/>
              <a:gd name="connsiteX204" fmla="*/ 1928172 w 12192001"/>
              <a:gd name="connsiteY204" fmla="*/ 2016977 h 2344739"/>
              <a:gd name="connsiteX205" fmla="*/ 1921650 w 12192001"/>
              <a:gd name="connsiteY205" fmla="*/ 2012146 h 2344739"/>
              <a:gd name="connsiteX206" fmla="*/ 1873080 w 12192001"/>
              <a:gd name="connsiteY206" fmla="*/ 2013741 h 2344739"/>
              <a:gd name="connsiteX207" fmla="*/ 1786655 w 12192001"/>
              <a:gd name="connsiteY207" fmla="*/ 2041363 h 2344739"/>
              <a:gd name="connsiteX208" fmla="*/ 1738204 w 12192001"/>
              <a:gd name="connsiteY208" fmla="*/ 2036312 h 2344739"/>
              <a:gd name="connsiteX209" fmla="*/ 1675071 w 12192001"/>
              <a:gd name="connsiteY209" fmla="*/ 2019963 h 2344739"/>
              <a:gd name="connsiteX210" fmla="*/ 1608669 w 12192001"/>
              <a:gd name="connsiteY210" fmla="*/ 2013066 h 2344739"/>
              <a:gd name="connsiteX211" fmla="*/ 1496110 w 12192001"/>
              <a:gd name="connsiteY211" fmla="*/ 1987476 h 2344739"/>
              <a:gd name="connsiteX212" fmla="*/ 1149979 w 12192001"/>
              <a:gd name="connsiteY212" fmla="*/ 1938041 h 2344739"/>
              <a:gd name="connsiteX213" fmla="*/ 858269 w 12192001"/>
              <a:gd name="connsiteY213" fmla="*/ 1928608 h 2344739"/>
              <a:gd name="connsiteX214" fmla="*/ 837540 w 12192001"/>
              <a:gd name="connsiteY214" fmla="*/ 1929821 h 2344739"/>
              <a:gd name="connsiteX215" fmla="*/ 816809 w 12192001"/>
              <a:gd name="connsiteY215" fmla="*/ 1927857 h 2344739"/>
              <a:gd name="connsiteX216" fmla="*/ 811506 w 12192001"/>
              <a:gd name="connsiteY216" fmla="*/ 1930751 h 2344739"/>
              <a:gd name="connsiteX217" fmla="*/ 797041 w 12192001"/>
              <a:gd name="connsiteY217" fmla="*/ 1930446 h 2344739"/>
              <a:gd name="connsiteX218" fmla="*/ 767901 w 12192001"/>
              <a:gd name="connsiteY218" fmla="*/ 1932653 h 2344739"/>
              <a:gd name="connsiteX219" fmla="*/ 763053 w 12192001"/>
              <a:gd name="connsiteY219" fmla="*/ 1930432 h 2344739"/>
              <a:gd name="connsiteX220" fmla="*/ 720047 w 12192001"/>
              <a:gd name="connsiteY220" fmla="*/ 1929661 h 2344739"/>
              <a:gd name="connsiteX221" fmla="*/ 719742 w 12192001"/>
              <a:gd name="connsiteY221" fmla="*/ 1928399 h 2344739"/>
              <a:gd name="connsiteX222" fmla="*/ 708875 w 12192001"/>
              <a:gd name="connsiteY222" fmla="*/ 1922722 h 2344739"/>
              <a:gd name="connsiteX223" fmla="*/ 596792 w 12192001"/>
              <a:gd name="connsiteY223" fmla="*/ 1879864 h 2344739"/>
              <a:gd name="connsiteX224" fmla="*/ 578535 w 12192001"/>
              <a:gd name="connsiteY224" fmla="*/ 1877212 h 2344739"/>
              <a:gd name="connsiteX225" fmla="*/ 571717 w 12192001"/>
              <a:gd name="connsiteY225" fmla="*/ 1877401 h 2344739"/>
              <a:gd name="connsiteX226" fmla="*/ 445099 w 12192001"/>
              <a:gd name="connsiteY226" fmla="*/ 1839371 h 2344739"/>
              <a:gd name="connsiteX227" fmla="*/ 404015 w 12192001"/>
              <a:gd name="connsiteY227" fmla="*/ 1833548 h 2344739"/>
              <a:gd name="connsiteX228" fmla="*/ 292435 w 12192001"/>
              <a:gd name="connsiteY228" fmla="*/ 1812852 h 2344739"/>
              <a:gd name="connsiteX229" fmla="*/ 118381 w 12192001"/>
              <a:gd name="connsiteY229" fmla="*/ 1761047 h 2344739"/>
              <a:gd name="connsiteX230" fmla="*/ 15526 w 12192001"/>
              <a:gd name="connsiteY230" fmla="*/ 1758191 h 2344739"/>
              <a:gd name="connsiteX231" fmla="*/ 2 w 12192001"/>
              <a:gd name="connsiteY231" fmla="*/ 1752722 h 2344739"/>
              <a:gd name="connsiteX232" fmla="*/ 1 w 12192001"/>
              <a:gd name="connsiteY232" fmla="*/ 762497 h 2344739"/>
              <a:gd name="connsiteX233" fmla="*/ 0 w 12192001"/>
              <a:gd name="connsiteY233" fmla="*/ 762497 h 2344739"/>
              <a:gd name="connsiteX234" fmla="*/ 0 w 12192001"/>
              <a:gd name="connsiteY234" fmla="*/ 222213 h 2344739"/>
              <a:gd name="connsiteX235" fmla="*/ 0 w 12192001"/>
              <a:gd name="connsiteY235"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522499 w 12192001"/>
              <a:gd name="connsiteY25" fmla="*/ 1207528 h 2344739"/>
              <a:gd name="connsiteX26" fmla="*/ 11245526 w 12192001"/>
              <a:gd name="connsiteY26" fmla="*/ 1274060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51232 w 12192001"/>
              <a:gd name="connsiteY69" fmla="*/ 1923669 h 2344739"/>
              <a:gd name="connsiteX70" fmla="*/ 9150210 w 12192001"/>
              <a:gd name="connsiteY70" fmla="*/ 1922604 h 2344739"/>
              <a:gd name="connsiteX71" fmla="*/ 9137318 w 12192001"/>
              <a:gd name="connsiteY71" fmla="*/ 1920435 h 2344739"/>
              <a:gd name="connsiteX72" fmla="*/ 9113812 w 12192001"/>
              <a:gd name="connsiteY72" fmla="*/ 1919069 h 2344739"/>
              <a:gd name="connsiteX73" fmla="*/ 9053453 w 12192001"/>
              <a:gd name="connsiteY73" fmla="*/ 1910755 h 2344739"/>
              <a:gd name="connsiteX74" fmla="*/ 9005486 w 12192001"/>
              <a:gd name="connsiteY74" fmla="*/ 1914040 h 2344739"/>
              <a:gd name="connsiteX75" fmla="*/ 9005201 w 12192001"/>
              <a:gd name="connsiteY75" fmla="*/ 1913800 h 2344739"/>
              <a:gd name="connsiteX76" fmla="*/ 8996232 w 12192001"/>
              <a:gd name="connsiteY76" fmla="*/ 1915011 h 2344739"/>
              <a:gd name="connsiteX77" fmla="*/ 8990394 w 12192001"/>
              <a:gd name="connsiteY77" fmla="*/ 1917072 h 2344739"/>
              <a:gd name="connsiteX78" fmla="*/ 8974337 w 12192001"/>
              <a:gd name="connsiteY78" fmla="*/ 1920298 h 2344739"/>
              <a:gd name="connsiteX79" fmla="*/ 8968011 w 12192001"/>
              <a:gd name="connsiteY79" fmla="*/ 1919598 h 2344739"/>
              <a:gd name="connsiteX80" fmla="*/ 8963048 w 12192001"/>
              <a:gd name="connsiteY80" fmla="*/ 1917373 h 2344739"/>
              <a:gd name="connsiteX81" fmla="*/ 8928988 w 12192001"/>
              <a:gd name="connsiteY81" fmla="*/ 1914185 h 2344739"/>
              <a:gd name="connsiteX82" fmla="*/ 8752444 w 12192001"/>
              <a:gd name="connsiteY82" fmla="*/ 1933417 h 2344739"/>
              <a:gd name="connsiteX83" fmla="*/ 8707847 w 12192001"/>
              <a:gd name="connsiteY83" fmla="*/ 1935518 h 2344739"/>
              <a:gd name="connsiteX84" fmla="*/ 8596071 w 12192001"/>
              <a:gd name="connsiteY84" fmla="*/ 1944090 h 2344739"/>
              <a:gd name="connsiteX85" fmla="*/ 8525230 w 12192001"/>
              <a:gd name="connsiteY85" fmla="*/ 1929248 h 2344739"/>
              <a:gd name="connsiteX86" fmla="*/ 8510983 w 12192001"/>
              <a:gd name="connsiteY86" fmla="*/ 1935163 h 2344739"/>
              <a:gd name="connsiteX87" fmla="*/ 8506167 w 12192001"/>
              <a:gd name="connsiteY87" fmla="*/ 1938164 h 2344739"/>
              <a:gd name="connsiteX88" fmla="*/ 8497968 w 12192001"/>
              <a:gd name="connsiteY88" fmla="*/ 1940902 h 2344739"/>
              <a:gd name="connsiteX89" fmla="*/ 8497594 w 12192001"/>
              <a:gd name="connsiteY89" fmla="*/ 1940723 h 2344739"/>
              <a:gd name="connsiteX90" fmla="*/ 8490249 w 12192001"/>
              <a:gd name="connsiteY90" fmla="*/ 1943773 h 2344739"/>
              <a:gd name="connsiteX91" fmla="*/ 8367182 w 12192001"/>
              <a:gd name="connsiteY91" fmla="*/ 1957815 h 2344739"/>
              <a:gd name="connsiteX92" fmla="*/ 8353799 w 12192001"/>
              <a:gd name="connsiteY92" fmla="*/ 1958009 h 2344739"/>
              <a:gd name="connsiteX93" fmla="*/ 8352373 w 12192001"/>
              <a:gd name="connsiteY93" fmla="*/ 1957169 h 2344739"/>
              <a:gd name="connsiteX94" fmla="*/ 8320104 w 12192001"/>
              <a:gd name="connsiteY94" fmla="*/ 1974587 h 2344739"/>
              <a:gd name="connsiteX95" fmla="*/ 8314433 w 12192001"/>
              <a:gd name="connsiteY95" fmla="*/ 1974913 h 2344739"/>
              <a:gd name="connsiteX96" fmla="*/ 8295174 w 12192001"/>
              <a:gd name="connsiteY96" fmla="*/ 1988808 h 2344739"/>
              <a:gd name="connsiteX97" fmla="*/ 8284276 w 12192001"/>
              <a:gd name="connsiteY97" fmla="*/ 1994631 h 2344739"/>
              <a:gd name="connsiteX98" fmla="*/ 8283150 w 12192001"/>
              <a:gd name="connsiteY98" fmla="*/ 1999074 h 2344739"/>
              <a:gd name="connsiteX99" fmla="*/ 8266076 w 12192001"/>
              <a:gd name="connsiteY99" fmla="*/ 2006249 h 2344739"/>
              <a:gd name="connsiteX100" fmla="*/ 8263377 w 12192001"/>
              <a:gd name="connsiteY100" fmla="*/ 2006019 h 2344739"/>
              <a:gd name="connsiteX101" fmla="*/ 8252033 w 12192001"/>
              <a:gd name="connsiteY101" fmla="*/ 2015862 h 2344739"/>
              <a:gd name="connsiteX102" fmla="*/ 8245834 w 12192001"/>
              <a:gd name="connsiteY102" fmla="*/ 2028854 h 2344739"/>
              <a:gd name="connsiteX103" fmla="*/ 8090272 w 12192001"/>
              <a:gd name="connsiteY103" fmla="*/ 2075015 h 2344739"/>
              <a:gd name="connsiteX104" fmla="*/ 7905407 w 12192001"/>
              <a:gd name="connsiteY104" fmla="*/ 2116988 h 2344739"/>
              <a:gd name="connsiteX105" fmla="*/ 7718745 w 12192001"/>
              <a:gd name="connsiteY105" fmla="*/ 2142703 h 2344739"/>
              <a:gd name="connsiteX106" fmla="*/ 7614347 w 12192001"/>
              <a:gd name="connsiteY106" fmla="*/ 2139232 h 2344739"/>
              <a:gd name="connsiteX107" fmla="*/ 7527543 w 12192001"/>
              <a:gd name="connsiteY107" fmla="*/ 2145060 h 2344739"/>
              <a:gd name="connsiteX108" fmla="*/ 7519571 w 12192001"/>
              <a:gd name="connsiteY108" fmla="*/ 2147613 h 2344739"/>
              <a:gd name="connsiteX109" fmla="*/ 7507411 w 12192001"/>
              <a:gd name="connsiteY109" fmla="*/ 2148948 h 2344739"/>
              <a:gd name="connsiteX110" fmla="*/ 7507040 w 12192001"/>
              <a:gd name="connsiteY110" fmla="*/ 2148621 h 2344739"/>
              <a:gd name="connsiteX111" fmla="*/ 7495795 w 12192001"/>
              <a:gd name="connsiteY111" fmla="*/ 2150573 h 2344739"/>
              <a:gd name="connsiteX112" fmla="*/ 7405391 w 12192001"/>
              <a:gd name="connsiteY112" fmla="*/ 2142468 h 2344739"/>
              <a:gd name="connsiteX113" fmla="*/ 7312180 w 12192001"/>
              <a:gd name="connsiteY113" fmla="*/ 2132873 h 2344739"/>
              <a:gd name="connsiteX114" fmla="*/ 7310853 w 12192001"/>
              <a:gd name="connsiteY114" fmla="*/ 2131431 h 2344739"/>
              <a:gd name="connsiteX115" fmla="*/ 7218559 w 12192001"/>
              <a:gd name="connsiteY115" fmla="*/ 2156680 h 2344739"/>
              <a:gd name="connsiteX116" fmla="*/ 7201101 w 12192001"/>
              <a:gd name="connsiteY116" fmla="*/ 2161230 h 2344739"/>
              <a:gd name="connsiteX117" fmla="*/ 7197004 w 12192001"/>
              <a:gd name="connsiteY117" fmla="*/ 2166588 h 2344739"/>
              <a:gd name="connsiteX118" fmla="*/ 7170808 w 12192001"/>
              <a:gd name="connsiteY118" fmla="*/ 2171236 h 2344739"/>
              <a:gd name="connsiteX119" fmla="*/ 7096988 w 12192001"/>
              <a:gd name="connsiteY119" fmla="*/ 2183464 h 2344739"/>
              <a:gd name="connsiteX120" fmla="*/ 7018496 w 12192001"/>
              <a:gd name="connsiteY120" fmla="*/ 2183090 h 2344739"/>
              <a:gd name="connsiteX121" fmla="*/ 6904146 w 12192001"/>
              <a:gd name="connsiteY121" fmla="*/ 2212596 h 2344739"/>
              <a:gd name="connsiteX122" fmla="*/ 6708222 w 12192001"/>
              <a:gd name="connsiteY122" fmla="*/ 2240551 h 2344739"/>
              <a:gd name="connsiteX123" fmla="*/ 6549454 w 12192001"/>
              <a:gd name="connsiteY123" fmla="*/ 2269327 h 2344739"/>
              <a:gd name="connsiteX124" fmla="*/ 6317560 w 12192001"/>
              <a:gd name="connsiteY124" fmla="*/ 2316127 h 2344739"/>
              <a:gd name="connsiteX125" fmla="*/ 6168674 w 12192001"/>
              <a:gd name="connsiteY125" fmla="*/ 2318214 h 2344739"/>
              <a:gd name="connsiteX126" fmla="*/ 6073848 w 12192001"/>
              <a:gd name="connsiteY126" fmla="*/ 2338676 h 2344739"/>
              <a:gd name="connsiteX127" fmla="*/ 6068529 w 12192001"/>
              <a:gd name="connsiteY127" fmla="*/ 2337139 h 2344739"/>
              <a:gd name="connsiteX128" fmla="*/ 6048638 w 12192001"/>
              <a:gd name="connsiteY128" fmla="*/ 2337822 h 2344739"/>
              <a:gd name="connsiteX129" fmla="*/ 6041285 w 12192001"/>
              <a:gd name="connsiteY129" fmla="*/ 2329473 h 2344739"/>
              <a:gd name="connsiteX130" fmla="*/ 6010090 w 12192001"/>
              <a:gd name="connsiteY130" fmla="*/ 2324380 h 2344739"/>
              <a:gd name="connsiteX131" fmla="*/ 5957375 w 12192001"/>
              <a:gd name="connsiteY131" fmla="*/ 2328024 h 2344739"/>
              <a:gd name="connsiteX132" fmla="*/ 5758919 w 12192001"/>
              <a:gd name="connsiteY132" fmla="*/ 2343716 h 2344739"/>
              <a:gd name="connsiteX133" fmla="*/ 5626960 w 12192001"/>
              <a:gd name="connsiteY133" fmla="*/ 2344739 h 2344739"/>
              <a:gd name="connsiteX134" fmla="*/ 5470906 w 12192001"/>
              <a:gd name="connsiteY134" fmla="*/ 2330719 h 2344739"/>
              <a:gd name="connsiteX135" fmla="*/ 5432761 w 12192001"/>
              <a:gd name="connsiteY135" fmla="*/ 2319466 h 2344739"/>
              <a:gd name="connsiteX136" fmla="*/ 5381669 w 12192001"/>
              <a:gd name="connsiteY136" fmla="*/ 2301764 h 2344739"/>
              <a:gd name="connsiteX137" fmla="*/ 5261764 w 12192001"/>
              <a:gd name="connsiteY137" fmla="*/ 2281347 h 2344739"/>
              <a:gd name="connsiteX138" fmla="*/ 5222961 w 12192001"/>
              <a:gd name="connsiteY138" fmla="*/ 2270223 h 2344739"/>
              <a:gd name="connsiteX139" fmla="*/ 5174660 w 12192001"/>
              <a:gd name="connsiteY139" fmla="*/ 2267233 h 2344739"/>
              <a:gd name="connsiteX140" fmla="*/ 5156554 w 12192001"/>
              <a:gd name="connsiteY140" fmla="*/ 2260010 h 2344739"/>
              <a:gd name="connsiteX141" fmla="*/ 5142599 w 12192001"/>
              <a:gd name="connsiteY141" fmla="*/ 2256610 h 2344739"/>
              <a:gd name="connsiteX142" fmla="*/ 5139596 w 12192001"/>
              <a:gd name="connsiteY142" fmla="*/ 2254509 h 2344739"/>
              <a:gd name="connsiteX143" fmla="*/ 5121659 w 12192001"/>
              <a:gd name="connsiteY143" fmla="*/ 2243656 h 2344739"/>
              <a:gd name="connsiteX144" fmla="*/ 5065790 w 12192001"/>
              <a:gd name="connsiteY144" fmla="*/ 2250227 h 2344739"/>
              <a:gd name="connsiteX145" fmla="*/ 5011514 w 12192001"/>
              <a:gd name="connsiteY145" fmla="*/ 2233846 h 2344739"/>
              <a:gd name="connsiteX146" fmla="*/ 4840441 w 12192001"/>
              <a:gd name="connsiteY146" fmla="*/ 2209829 h 2344739"/>
              <a:gd name="connsiteX147" fmla="*/ 4762447 w 12192001"/>
              <a:gd name="connsiteY147" fmla="*/ 2182061 h 2344739"/>
              <a:gd name="connsiteX148" fmla="*/ 4723186 w 12192001"/>
              <a:gd name="connsiteY148" fmla="*/ 2173047 h 2344739"/>
              <a:gd name="connsiteX149" fmla="*/ 4721176 w 12192001"/>
              <a:gd name="connsiteY149" fmla="*/ 2172298 h 2344739"/>
              <a:gd name="connsiteX150" fmla="*/ 4722111 w 12192001"/>
              <a:gd name="connsiteY150" fmla="*/ 2172087 h 2344739"/>
              <a:gd name="connsiteX151" fmla="*/ 4717202 w 12192001"/>
              <a:gd name="connsiteY151" fmla="*/ 2170817 h 2344739"/>
              <a:gd name="connsiteX152" fmla="*/ 4721176 w 12192001"/>
              <a:gd name="connsiteY152" fmla="*/ 2172298 h 2344739"/>
              <a:gd name="connsiteX153" fmla="*/ 4715526 w 12192001"/>
              <a:gd name="connsiteY153" fmla="*/ 2173573 h 2344739"/>
              <a:gd name="connsiteX154" fmla="*/ 4515814 w 12192001"/>
              <a:gd name="connsiteY154" fmla="*/ 2163671 h 2344739"/>
              <a:gd name="connsiteX155" fmla="*/ 4428543 w 12192001"/>
              <a:gd name="connsiteY155" fmla="*/ 2153020 h 2344739"/>
              <a:gd name="connsiteX156" fmla="*/ 4362875 w 12192001"/>
              <a:gd name="connsiteY156" fmla="*/ 2151674 h 2344739"/>
              <a:gd name="connsiteX157" fmla="*/ 4316966 w 12192001"/>
              <a:gd name="connsiteY157" fmla="*/ 2158289 h 2344739"/>
              <a:gd name="connsiteX158" fmla="*/ 4315110 w 12192001"/>
              <a:gd name="connsiteY158" fmla="*/ 2156948 h 2344739"/>
              <a:gd name="connsiteX159" fmla="*/ 4295144 w 12192001"/>
              <a:gd name="connsiteY159" fmla="*/ 2155069 h 2344739"/>
              <a:gd name="connsiteX160" fmla="*/ 4290064 w 12192001"/>
              <a:gd name="connsiteY160" fmla="*/ 2157986 h 2344739"/>
              <a:gd name="connsiteX161" fmla="*/ 4276142 w 12192001"/>
              <a:gd name="connsiteY161" fmla="*/ 2157740 h 2344739"/>
              <a:gd name="connsiteX162" fmla="*/ 4248117 w 12192001"/>
              <a:gd name="connsiteY162" fmla="*/ 2160064 h 2344739"/>
              <a:gd name="connsiteX163" fmla="*/ 4202051 w 12192001"/>
              <a:gd name="connsiteY163" fmla="*/ 2157269 h 2344739"/>
              <a:gd name="connsiteX164" fmla="*/ 4201745 w 12192001"/>
              <a:gd name="connsiteY164" fmla="*/ 2156010 h 2344739"/>
              <a:gd name="connsiteX165" fmla="*/ 4191248 w 12192001"/>
              <a:gd name="connsiteY165" fmla="*/ 2150376 h 2344739"/>
              <a:gd name="connsiteX166" fmla="*/ 4142745 w 12192001"/>
              <a:gd name="connsiteY166" fmla="*/ 2134511 h 2344739"/>
              <a:gd name="connsiteX167" fmla="*/ 4083097 w 12192001"/>
              <a:gd name="connsiteY167" fmla="*/ 2107978 h 2344739"/>
              <a:gd name="connsiteX168" fmla="*/ 4074546 w 12192001"/>
              <a:gd name="connsiteY168" fmla="*/ 2107143 h 2344739"/>
              <a:gd name="connsiteX169" fmla="*/ 4074427 w 12192001"/>
              <a:gd name="connsiteY169" fmla="*/ 2106844 h 2344739"/>
              <a:gd name="connsiteX170" fmla="*/ 4065510 w 12192001"/>
              <a:gd name="connsiteY170" fmla="*/ 2105400 h 2344739"/>
              <a:gd name="connsiteX171" fmla="*/ 4058954 w 12192001"/>
              <a:gd name="connsiteY171" fmla="*/ 2105618 h 2344739"/>
              <a:gd name="connsiteX172" fmla="*/ 4042364 w 12192001"/>
              <a:gd name="connsiteY172" fmla="*/ 2103997 h 2344739"/>
              <a:gd name="connsiteX173" fmla="*/ 4036997 w 12192001"/>
              <a:gd name="connsiteY173" fmla="*/ 2101563 h 2344739"/>
              <a:gd name="connsiteX174" fmla="*/ 4035363 w 12192001"/>
              <a:gd name="connsiteY174" fmla="*/ 2097896 h 2344739"/>
              <a:gd name="connsiteX175" fmla="*/ 4033778 w 12192001"/>
              <a:gd name="connsiteY175" fmla="*/ 2098131 h 2344739"/>
              <a:gd name="connsiteX176" fmla="*/ 4004538 w 12192001"/>
              <a:gd name="connsiteY176" fmla="*/ 2085563 h 2344739"/>
              <a:gd name="connsiteX177" fmla="*/ 3936846 w 12192001"/>
              <a:gd name="connsiteY177" fmla="*/ 2068106 h 2344739"/>
              <a:gd name="connsiteX178" fmla="*/ 3897275 w 12192001"/>
              <a:gd name="connsiteY178" fmla="*/ 2062451 h 2344739"/>
              <a:gd name="connsiteX179" fmla="*/ 3789760 w 12192001"/>
              <a:gd name="connsiteY179" fmla="*/ 2042213 h 2344739"/>
              <a:gd name="connsiteX180" fmla="*/ 3682513 w 12192001"/>
              <a:gd name="connsiteY180" fmla="*/ 2018290 h 2344739"/>
              <a:gd name="connsiteX181" fmla="*/ 3610035 w 12192001"/>
              <a:gd name="connsiteY181" fmla="*/ 1986019 h 2344739"/>
              <a:gd name="connsiteX182" fmla="*/ 3603855 w 12192001"/>
              <a:gd name="connsiteY182" fmla="*/ 1987381 h 2344739"/>
              <a:gd name="connsiteX183" fmla="*/ 3594736 w 12192001"/>
              <a:gd name="connsiteY183" fmla="*/ 1987545 h 2344739"/>
              <a:gd name="connsiteX184" fmla="*/ 3594501 w 12192001"/>
              <a:gd name="connsiteY184" fmla="*/ 1987276 h 2344739"/>
              <a:gd name="connsiteX185" fmla="*/ 3585978 w 12192001"/>
              <a:gd name="connsiteY185" fmla="*/ 1987966 h 2344739"/>
              <a:gd name="connsiteX186" fmla="*/ 3536135 w 12192001"/>
              <a:gd name="connsiteY186" fmla="*/ 1978267 h 2344739"/>
              <a:gd name="connsiteX187" fmla="*/ 3473223 w 12192001"/>
              <a:gd name="connsiteY187" fmla="*/ 1974606 h 2344739"/>
              <a:gd name="connsiteX188" fmla="*/ 3400728 w 12192001"/>
              <a:gd name="connsiteY188" fmla="*/ 1962558 h 2344739"/>
              <a:gd name="connsiteX189" fmla="*/ 3363888 w 12192001"/>
              <a:gd name="connsiteY189" fmla="*/ 1979510 h 2344739"/>
              <a:gd name="connsiteX190" fmla="*/ 3344026 w 12192001"/>
              <a:gd name="connsiteY190" fmla="*/ 1981192 h 2344739"/>
              <a:gd name="connsiteX191" fmla="*/ 3341698 w 12192001"/>
              <a:gd name="connsiteY191" fmla="*/ 1980217 h 2344739"/>
              <a:gd name="connsiteX192" fmla="*/ 3262356 w 12192001"/>
              <a:gd name="connsiteY192" fmla="*/ 1986094 h 2344739"/>
              <a:gd name="connsiteX193" fmla="*/ 3142556 w 12192001"/>
              <a:gd name="connsiteY193" fmla="*/ 1993869 h 2344739"/>
              <a:gd name="connsiteX194" fmla="*/ 3030291 w 12192001"/>
              <a:gd name="connsiteY194" fmla="*/ 1996512 h 2344739"/>
              <a:gd name="connsiteX195" fmla="*/ 2781569 w 12192001"/>
              <a:gd name="connsiteY195" fmla="*/ 2018333 h 2344739"/>
              <a:gd name="connsiteX196" fmla="*/ 2646527 w 12192001"/>
              <a:gd name="connsiteY196" fmla="*/ 2028869 h 2344739"/>
              <a:gd name="connsiteX197" fmla="*/ 2568028 w 12192001"/>
              <a:gd name="connsiteY197" fmla="*/ 2002628 h 2344739"/>
              <a:gd name="connsiteX198" fmla="*/ 2443255 w 12192001"/>
              <a:gd name="connsiteY198" fmla="*/ 2016529 h 2344739"/>
              <a:gd name="connsiteX199" fmla="*/ 2315112 w 12192001"/>
              <a:gd name="connsiteY199" fmla="*/ 2024996 h 2344739"/>
              <a:gd name="connsiteX200" fmla="*/ 2208578 w 12192001"/>
              <a:gd name="connsiteY200" fmla="*/ 2019763 h 2344739"/>
              <a:gd name="connsiteX201" fmla="*/ 2094665 w 12192001"/>
              <a:gd name="connsiteY201" fmla="*/ 2003052 h 2344739"/>
              <a:gd name="connsiteX202" fmla="*/ 1997356 w 12192001"/>
              <a:gd name="connsiteY202" fmla="*/ 1995032 h 2344739"/>
              <a:gd name="connsiteX203" fmla="*/ 1928172 w 12192001"/>
              <a:gd name="connsiteY203" fmla="*/ 2016977 h 2344739"/>
              <a:gd name="connsiteX204" fmla="*/ 1921650 w 12192001"/>
              <a:gd name="connsiteY204" fmla="*/ 2012146 h 2344739"/>
              <a:gd name="connsiteX205" fmla="*/ 1873080 w 12192001"/>
              <a:gd name="connsiteY205" fmla="*/ 2013741 h 2344739"/>
              <a:gd name="connsiteX206" fmla="*/ 1786655 w 12192001"/>
              <a:gd name="connsiteY206" fmla="*/ 2041363 h 2344739"/>
              <a:gd name="connsiteX207" fmla="*/ 1738204 w 12192001"/>
              <a:gd name="connsiteY207" fmla="*/ 2036312 h 2344739"/>
              <a:gd name="connsiteX208" fmla="*/ 1675071 w 12192001"/>
              <a:gd name="connsiteY208" fmla="*/ 2019963 h 2344739"/>
              <a:gd name="connsiteX209" fmla="*/ 1608669 w 12192001"/>
              <a:gd name="connsiteY209" fmla="*/ 2013066 h 2344739"/>
              <a:gd name="connsiteX210" fmla="*/ 1496110 w 12192001"/>
              <a:gd name="connsiteY210" fmla="*/ 1987476 h 2344739"/>
              <a:gd name="connsiteX211" fmla="*/ 1149979 w 12192001"/>
              <a:gd name="connsiteY211" fmla="*/ 1938041 h 2344739"/>
              <a:gd name="connsiteX212" fmla="*/ 858269 w 12192001"/>
              <a:gd name="connsiteY212" fmla="*/ 1928608 h 2344739"/>
              <a:gd name="connsiteX213" fmla="*/ 837540 w 12192001"/>
              <a:gd name="connsiteY213" fmla="*/ 1929821 h 2344739"/>
              <a:gd name="connsiteX214" fmla="*/ 816809 w 12192001"/>
              <a:gd name="connsiteY214" fmla="*/ 1927857 h 2344739"/>
              <a:gd name="connsiteX215" fmla="*/ 811506 w 12192001"/>
              <a:gd name="connsiteY215" fmla="*/ 1930751 h 2344739"/>
              <a:gd name="connsiteX216" fmla="*/ 797041 w 12192001"/>
              <a:gd name="connsiteY216" fmla="*/ 1930446 h 2344739"/>
              <a:gd name="connsiteX217" fmla="*/ 767901 w 12192001"/>
              <a:gd name="connsiteY217" fmla="*/ 1932653 h 2344739"/>
              <a:gd name="connsiteX218" fmla="*/ 763053 w 12192001"/>
              <a:gd name="connsiteY218" fmla="*/ 1930432 h 2344739"/>
              <a:gd name="connsiteX219" fmla="*/ 720047 w 12192001"/>
              <a:gd name="connsiteY219" fmla="*/ 1929661 h 2344739"/>
              <a:gd name="connsiteX220" fmla="*/ 719742 w 12192001"/>
              <a:gd name="connsiteY220" fmla="*/ 1928399 h 2344739"/>
              <a:gd name="connsiteX221" fmla="*/ 708875 w 12192001"/>
              <a:gd name="connsiteY221" fmla="*/ 1922722 h 2344739"/>
              <a:gd name="connsiteX222" fmla="*/ 596792 w 12192001"/>
              <a:gd name="connsiteY222" fmla="*/ 1879864 h 2344739"/>
              <a:gd name="connsiteX223" fmla="*/ 578535 w 12192001"/>
              <a:gd name="connsiteY223" fmla="*/ 1877212 h 2344739"/>
              <a:gd name="connsiteX224" fmla="*/ 571717 w 12192001"/>
              <a:gd name="connsiteY224" fmla="*/ 1877401 h 2344739"/>
              <a:gd name="connsiteX225" fmla="*/ 445099 w 12192001"/>
              <a:gd name="connsiteY225" fmla="*/ 1839371 h 2344739"/>
              <a:gd name="connsiteX226" fmla="*/ 404015 w 12192001"/>
              <a:gd name="connsiteY226" fmla="*/ 1833548 h 2344739"/>
              <a:gd name="connsiteX227" fmla="*/ 292435 w 12192001"/>
              <a:gd name="connsiteY227" fmla="*/ 1812852 h 2344739"/>
              <a:gd name="connsiteX228" fmla="*/ 118381 w 12192001"/>
              <a:gd name="connsiteY228" fmla="*/ 1761047 h 2344739"/>
              <a:gd name="connsiteX229" fmla="*/ 15526 w 12192001"/>
              <a:gd name="connsiteY229" fmla="*/ 1758191 h 2344739"/>
              <a:gd name="connsiteX230" fmla="*/ 2 w 12192001"/>
              <a:gd name="connsiteY230" fmla="*/ 1752722 h 2344739"/>
              <a:gd name="connsiteX231" fmla="*/ 1 w 12192001"/>
              <a:gd name="connsiteY231" fmla="*/ 762497 h 2344739"/>
              <a:gd name="connsiteX232" fmla="*/ 0 w 12192001"/>
              <a:gd name="connsiteY232" fmla="*/ 762497 h 2344739"/>
              <a:gd name="connsiteX233" fmla="*/ 0 w 12192001"/>
              <a:gd name="connsiteY233" fmla="*/ 222213 h 2344739"/>
              <a:gd name="connsiteX234" fmla="*/ 0 w 12192001"/>
              <a:gd name="connsiteY234"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522499 w 12192001"/>
              <a:gd name="connsiteY25" fmla="*/ 1207528 h 2344739"/>
              <a:gd name="connsiteX26" fmla="*/ 11245526 w 12192001"/>
              <a:gd name="connsiteY26" fmla="*/ 1274060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51232 w 12192001"/>
              <a:gd name="connsiteY69" fmla="*/ 1923669 h 2344739"/>
              <a:gd name="connsiteX70" fmla="*/ 9150210 w 12192001"/>
              <a:gd name="connsiteY70" fmla="*/ 1922604 h 2344739"/>
              <a:gd name="connsiteX71" fmla="*/ 9137318 w 12192001"/>
              <a:gd name="connsiteY71" fmla="*/ 1920435 h 2344739"/>
              <a:gd name="connsiteX72" fmla="*/ 9113812 w 12192001"/>
              <a:gd name="connsiteY72" fmla="*/ 1919069 h 2344739"/>
              <a:gd name="connsiteX73" fmla="*/ 9053453 w 12192001"/>
              <a:gd name="connsiteY73" fmla="*/ 1910755 h 2344739"/>
              <a:gd name="connsiteX74" fmla="*/ 9005486 w 12192001"/>
              <a:gd name="connsiteY74" fmla="*/ 1914040 h 2344739"/>
              <a:gd name="connsiteX75" fmla="*/ 9005201 w 12192001"/>
              <a:gd name="connsiteY75" fmla="*/ 1913800 h 2344739"/>
              <a:gd name="connsiteX76" fmla="*/ 8996232 w 12192001"/>
              <a:gd name="connsiteY76" fmla="*/ 1915011 h 2344739"/>
              <a:gd name="connsiteX77" fmla="*/ 8990394 w 12192001"/>
              <a:gd name="connsiteY77" fmla="*/ 1917072 h 2344739"/>
              <a:gd name="connsiteX78" fmla="*/ 8974337 w 12192001"/>
              <a:gd name="connsiteY78" fmla="*/ 1920298 h 2344739"/>
              <a:gd name="connsiteX79" fmla="*/ 8968011 w 12192001"/>
              <a:gd name="connsiteY79" fmla="*/ 1919598 h 2344739"/>
              <a:gd name="connsiteX80" fmla="*/ 8963048 w 12192001"/>
              <a:gd name="connsiteY80" fmla="*/ 1917373 h 2344739"/>
              <a:gd name="connsiteX81" fmla="*/ 8928988 w 12192001"/>
              <a:gd name="connsiteY81" fmla="*/ 1914185 h 2344739"/>
              <a:gd name="connsiteX82" fmla="*/ 8752444 w 12192001"/>
              <a:gd name="connsiteY82" fmla="*/ 1933417 h 2344739"/>
              <a:gd name="connsiteX83" fmla="*/ 8707847 w 12192001"/>
              <a:gd name="connsiteY83" fmla="*/ 1935518 h 2344739"/>
              <a:gd name="connsiteX84" fmla="*/ 8596071 w 12192001"/>
              <a:gd name="connsiteY84" fmla="*/ 1944090 h 2344739"/>
              <a:gd name="connsiteX85" fmla="*/ 8525230 w 12192001"/>
              <a:gd name="connsiteY85" fmla="*/ 1929248 h 2344739"/>
              <a:gd name="connsiteX86" fmla="*/ 8510983 w 12192001"/>
              <a:gd name="connsiteY86" fmla="*/ 1935163 h 2344739"/>
              <a:gd name="connsiteX87" fmla="*/ 8506167 w 12192001"/>
              <a:gd name="connsiteY87" fmla="*/ 1938164 h 2344739"/>
              <a:gd name="connsiteX88" fmla="*/ 8497968 w 12192001"/>
              <a:gd name="connsiteY88" fmla="*/ 1940902 h 2344739"/>
              <a:gd name="connsiteX89" fmla="*/ 8497594 w 12192001"/>
              <a:gd name="connsiteY89" fmla="*/ 1940723 h 2344739"/>
              <a:gd name="connsiteX90" fmla="*/ 8490249 w 12192001"/>
              <a:gd name="connsiteY90" fmla="*/ 1943773 h 2344739"/>
              <a:gd name="connsiteX91" fmla="*/ 8367182 w 12192001"/>
              <a:gd name="connsiteY91" fmla="*/ 1957815 h 2344739"/>
              <a:gd name="connsiteX92" fmla="*/ 8353799 w 12192001"/>
              <a:gd name="connsiteY92" fmla="*/ 1958009 h 2344739"/>
              <a:gd name="connsiteX93" fmla="*/ 8352373 w 12192001"/>
              <a:gd name="connsiteY93" fmla="*/ 1957169 h 2344739"/>
              <a:gd name="connsiteX94" fmla="*/ 8320104 w 12192001"/>
              <a:gd name="connsiteY94" fmla="*/ 1974587 h 2344739"/>
              <a:gd name="connsiteX95" fmla="*/ 8314433 w 12192001"/>
              <a:gd name="connsiteY95" fmla="*/ 1974913 h 2344739"/>
              <a:gd name="connsiteX96" fmla="*/ 8295174 w 12192001"/>
              <a:gd name="connsiteY96" fmla="*/ 1988808 h 2344739"/>
              <a:gd name="connsiteX97" fmla="*/ 8284276 w 12192001"/>
              <a:gd name="connsiteY97" fmla="*/ 1994631 h 2344739"/>
              <a:gd name="connsiteX98" fmla="*/ 8283150 w 12192001"/>
              <a:gd name="connsiteY98" fmla="*/ 1999074 h 2344739"/>
              <a:gd name="connsiteX99" fmla="*/ 8266076 w 12192001"/>
              <a:gd name="connsiteY99" fmla="*/ 2006249 h 2344739"/>
              <a:gd name="connsiteX100" fmla="*/ 8263377 w 12192001"/>
              <a:gd name="connsiteY100" fmla="*/ 2006019 h 2344739"/>
              <a:gd name="connsiteX101" fmla="*/ 8252033 w 12192001"/>
              <a:gd name="connsiteY101" fmla="*/ 2015862 h 2344739"/>
              <a:gd name="connsiteX102" fmla="*/ 8245834 w 12192001"/>
              <a:gd name="connsiteY102" fmla="*/ 2028854 h 2344739"/>
              <a:gd name="connsiteX103" fmla="*/ 8090272 w 12192001"/>
              <a:gd name="connsiteY103" fmla="*/ 2075015 h 2344739"/>
              <a:gd name="connsiteX104" fmla="*/ 7905407 w 12192001"/>
              <a:gd name="connsiteY104" fmla="*/ 2116988 h 2344739"/>
              <a:gd name="connsiteX105" fmla="*/ 7718745 w 12192001"/>
              <a:gd name="connsiteY105" fmla="*/ 2142703 h 2344739"/>
              <a:gd name="connsiteX106" fmla="*/ 7614347 w 12192001"/>
              <a:gd name="connsiteY106" fmla="*/ 2139232 h 2344739"/>
              <a:gd name="connsiteX107" fmla="*/ 7527543 w 12192001"/>
              <a:gd name="connsiteY107" fmla="*/ 2145060 h 2344739"/>
              <a:gd name="connsiteX108" fmla="*/ 7519571 w 12192001"/>
              <a:gd name="connsiteY108" fmla="*/ 2147613 h 2344739"/>
              <a:gd name="connsiteX109" fmla="*/ 7507411 w 12192001"/>
              <a:gd name="connsiteY109" fmla="*/ 2148948 h 2344739"/>
              <a:gd name="connsiteX110" fmla="*/ 7507040 w 12192001"/>
              <a:gd name="connsiteY110" fmla="*/ 2148621 h 2344739"/>
              <a:gd name="connsiteX111" fmla="*/ 7495795 w 12192001"/>
              <a:gd name="connsiteY111" fmla="*/ 2150573 h 2344739"/>
              <a:gd name="connsiteX112" fmla="*/ 7405391 w 12192001"/>
              <a:gd name="connsiteY112" fmla="*/ 2142468 h 2344739"/>
              <a:gd name="connsiteX113" fmla="*/ 7312180 w 12192001"/>
              <a:gd name="connsiteY113" fmla="*/ 2132873 h 2344739"/>
              <a:gd name="connsiteX114" fmla="*/ 7310853 w 12192001"/>
              <a:gd name="connsiteY114" fmla="*/ 2131431 h 2344739"/>
              <a:gd name="connsiteX115" fmla="*/ 7218559 w 12192001"/>
              <a:gd name="connsiteY115" fmla="*/ 2156680 h 2344739"/>
              <a:gd name="connsiteX116" fmla="*/ 7201101 w 12192001"/>
              <a:gd name="connsiteY116" fmla="*/ 2161230 h 2344739"/>
              <a:gd name="connsiteX117" fmla="*/ 7197004 w 12192001"/>
              <a:gd name="connsiteY117" fmla="*/ 2166588 h 2344739"/>
              <a:gd name="connsiteX118" fmla="*/ 7170808 w 12192001"/>
              <a:gd name="connsiteY118" fmla="*/ 2171236 h 2344739"/>
              <a:gd name="connsiteX119" fmla="*/ 7096988 w 12192001"/>
              <a:gd name="connsiteY119" fmla="*/ 2183464 h 2344739"/>
              <a:gd name="connsiteX120" fmla="*/ 7018496 w 12192001"/>
              <a:gd name="connsiteY120" fmla="*/ 2183090 h 2344739"/>
              <a:gd name="connsiteX121" fmla="*/ 6904146 w 12192001"/>
              <a:gd name="connsiteY121" fmla="*/ 2212596 h 2344739"/>
              <a:gd name="connsiteX122" fmla="*/ 6708222 w 12192001"/>
              <a:gd name="connsiteY122" fmla="*/ 2240551 h 2344739"/>
              <a:gd name="connsiteX123" fmla="*/ 6549454 w 12192001"/>
              <a:gd name="connsiteY123" fmla="*/ 2269327 h 2344739"/>
              <a:gd name="connsiteX124" fmla="*/ 6317560 w 12192001"/>
              <a:gd name="connsiteY124" fmla="*/ 2316127 h 2344739"/>
              <a:gd name="connsiteX125" fmla="*/ 6168674 w 12192001"/>
              <a:gd name="connsiteY125" fmla="*/ 2318214 h 2344739"/>
              <a:gd name="connsiteX126" fmla="*/ 6073848 w 12192001"/>
              <a:gd name="connsiteY126" fmla="*/ 2338676 h 2344739"/>
              <a:gd name="connsiteX127" fmla="*/ 6068529 w 12192001"/>
              <a:gd name="connsiteY127" fmla="*/ 2337139 h 2344739"/>
              <a:gd name="connsiteX128" fmla="*/ 6048638 w 12192001"/>
              <a:gd name="connsiteY128" fmla="*/ 2337822 h 2344739"/>
              <a:gd name="connsiteX129" fmla="*/ 6041285 w 12192001"/>
              <a:gd name="connsiteY129" fmla="*/ 2329473 h 2344739"/>
              <a:gd name="connsiteX130" fmla="*/ 6010090 w 12192001"/>
              <a:gd name="connsiteY130" fmla="*/ 2324380 h 2344739"/>
              <a:gd name="connsiteX131" fmla="*/ 5957375 w 12192001"/>
              <a:gd name="connsiteY131" fmla="*/ 2328024 h 2344739"/>
              <a:gd name="connsiteX132" fmla="*/ 5758919 w 12192001"/>
              <a:gd name="connsiteY132" fmla="*/ 2343716 h 2344739"/>
              <a:gd name="connsiteX133" fmla="*/ 5626960 w 12192001"/>
              <a:gd name="connsiteY133" fmla="*/ 2344739 h 2344739"/>
              <a:gd name="connsiteX134" fmla="*/ 5470906 w 12192001"/>
              <a:gd name="connsiteY134" fmla="*/ 2330719 h 2344739"/>
              <a:gd name="connsiteX135" fmla="*/ 5432761 w 12192001"/>
              <a:gd name="connsiteY135" fmla="*/ 2319466 h 2344739"/>
              <a:gd name="connsiteX136" fmla="*/ 5381669 w 12192001"/>
              <a:gd name="connsiteY136" fmla="*/ 2301764 h 2344739"/>
              <a:gd name="connsiteX137" fmla="*/ 5261764 w 12192001"/>
              <a:gd name="connsiteY137" fmla="*/ 2281347 h 2344739"/>
              <a:gd name="connsiteX138" fmla="*/ 5222961 w 12192001"/>
              <a:gd name="connsiteY138" fmla="*/ 2270223 h 2344739"/>
              <a:gd name="connsiteX139" fmla="*/ 5174660 w 12192001"/>
              <a:gd name="connsiteY139" fmla="*/ 2267233 h 2344739"/>
              <a:gd name="connsiteX140" fmla="*/ 5156554 w 12192001"/>
              <a:gd name="connsiteY140" fmla="*/ 2260010 h 2344739"/>
              <a:gd name="connsiteX141" fmla="*/ 5142599 w 12192001"/>
              <a:gd name="connsiteY141" fmla="*/ 2256610 h 2344739"/>
              <a:gd name="connsiteX142" fmla="*/ 5139596 w 12192001"/>
              <a:gd name="connsiteY142" fmla="*/ 2254509 h 2344739"/>
              <a:gd name="connsiteX143" fmla="*/ 5121659 w 12192001"/>
              <a:gd name="connsiteY143" fmla="*/ 2243656 h 2344739"/>
              <a:gd name="connsiteX144" fmla="*/ 5065790 w 12192001"/>
              <a:gd name="connsiteY144" fmla="*/ 2250227 h 2344739"/>
              <a:gd name="connsiteX145" fmla="*/ 5011514 w 12192001"/>
              <a:gd name="connsiteY145" fmla="*/ 2233846 h 2344739"/>
              <a:gd name="connsiteX146" fmla="*/ 4840441 w 12192001"/>
              <a:gd name="connsiteY146" fmla="*/ 2209829 h 2344739"/>
              <a:gd name="connsiteX147" fmla="*/ 4762447 w 12192001"/>
              <a:gd name="connsiteY147" fmla="*/ 2182061 h 2344739"/>
              <a:gd name="connsiteX148" fmla="*/ 4723186 w 12192001"/>
              <a:gd name="connsiteY148" fmla="*/ 2173047 h 2344739"/>
              <a:gd name="connsiteX149" fmla="*/ 4721176 w 12192001"/>
              <a:gd name="connsiteY149" fmla="*/ 2172298 h 2344739"/>
              <a:gd name="connsiteX150" fmla="*/ 4722111 w 12192001"/>
              <a:gd name="connsiteY150" fmla="*/ 2172087 h 2344739"/>
              <a:gd name="connsiteX151" fmla="*/ 4717202 w 12192001"/>
              <a:gd name="connsiteY151" fmla="*/ 2170817 h 2344739"/>
              <a:gd name="connsiteX152" fmla="*/ 4721176 w 12192001"/>
              <a:gd name="connsiteY152" fmla="*/ 2172298 h 2344739"/>
              <a:gd name="connsiteX153" fmla="*/ 4715526 w 12192001"/>
              <a:gd name="connsiteY153" fmla="*/ 2173573 h 2344739"/>
              <a:gd name="connsiteX154" fmla="*/ 4515814 w 12192001"/>
              <a:gd name="connsiteY154" fmla="*/ 2163671 h 2344739"/>
              <a:gd name="connsiteX155" fmla="*/ 4428543 w 12192001"/>
              <a:gd name="connsiteY155" fmla="*/ 2153020 h 2344739"/>
              <a:gd name="connsiteX156" fmla="*/ 4362875 w 12192001"/>
              <a:gd name="connsiteY156" fmla="*/ 2151674 h 2344739"/>
              <a:gd name="connsiteX157" fmla="*/ 4316966 w 12192001"/>
              <a:gd name="connsiteY157" fmla="*/ 2158289 h 2344739"/>
              <a:gd name="connsiteX158" fmla="*/ 4315110 w 12192001"/>
              <a:gd name="connsiteY158" fmla="*/ 2156948 h 2344739"/>
              <a:gd name="connsiteX159" fmla="*/ 4295144 w 12192001"/>
              <a:gd name="connsiteY159" fmla="*/ 2155069 h 2344739"/>
              <a:gd name="connsiteX160" fmla="*/ 4290064 w 12192001"/>
              <a:gd name="connsiteY160" fmla="*/ 2157986 h 2344739"/>
              <a:gd name="connsiteX161" fmla="*/ 4276142 w 12192001"/>
              <a:gd name="connsiteY161" fmla="*/ 2157740 h 2344739"/>
              <a:gd name="connsiteX162" fmla="*/ 4248117 w 12192001"/>
              <a:gd name="connsiteY162" fmla="*/ 2160064 h 2344739"/>
              <a:gd name="connsiteX163" fmla="*/ 4202051 w 12192001"/>
              <a:gd name="connsiteY163" fmla="*/ 2157269 h 2344739"/>
              <a:gd name="connsiteX164" fmla="*/ 4201745 w 12192001"/>
              <a:gd name="connsiteY164" fmla="*/ 2156010 h 2344739"/>
              <a:gd name="connsiteX165" fmla="*/ 4191248 w 12192001"/>
              <a:gd name="connsiteY165" fmla="*/ 2150376 h 2344739"/>
              <a:gd name="connsiteX166" fmla="*/ 4142745 w 12192001"/>
              <a:gd name="connsiteY166" fmla="*/ 2134511 h 2344739"/>
              <a:gd name="connsiteX167" fmla="*/ 4083097 w 12192001"/>
              <a:gd name="connsiteY167" fmla="*/ 2107978 h 2344739"/>
              <a:gd name="connsiteX168" fmla="*/ 4074546 w 12192001"/>
              <a:gd name="connsiteY168" fmla="*/ 2107143 h 2344739"/>
              <a:gd name="connsiteX169" fmla="*/ 4074427 w 12192001"/>
              <a:gd name="connsiteY169" fmla="*/ 2106844 h 2344739"/>
              <a:gd name="connsiteX170" fmla="*/ 4065510 w 12192001"/>
              <a:gd name="connsiteY170" fmla="*/ 2105400 h 2344739"/>
              <a:gd name="connsiteX171" fmla="*/ 4058954 w 12192001"/>
              <a:gd name="connsiteY171" fmla="*/ 2105618 h 2344739"/>
              <a:gd name="connsiteX172" fmla="*/ 4042364 w 12192001"/>
              <a:gd name="connsiteY172" fmla="*/ 2103997 h 2344739"/>
              <a:gd name="connsiteX173" fmla="*/ 4036997 w 12192001"/>
              <a:gd name="connsiteY173" fmla="*/ 2101563 h 2344739"/>
              <a:gd name="connsiteX174" fmla="*/ 4035363 w 12192001"/>
              <a:gd name="connsiteY174" fmla="*/ 2097896 h 2344739"/>
              <a:gd name="connsiteX175" fmla="*/ 4033778 w 12192001"/>
              <a:gd name="connsiteY175" fmla="*/ 2098131 h 2344739"/>
              <a:gd name="connsiteX176" fmla="*/ 4004538 w 12192001"/>
              <a:gd name="connsiteY176" fmla="*/ 2085563 h 2344739"/>
              <a:gd name="connsiteX177" fmla="*/ 3936846 w 12192001"/>
              <a:gd name="connsiteY177" fmla="*/ 2068106 h 2344739"/>
              <a:gd name="connsiteX178" fmla="*/ 3897275 w 12192001"/>
              <a:gd name="connsiteY178" fmla="*/ 2062451 h 2344739"/>
              <a:gd name="connsiteX179" fmla="*/ 3789760 w 12192001"/>
              <a:gd name="connsiteY179" fmla="*/ 2042213 h 2344739"/>
              <a:gd name="connsiteX180" fmla="*/ 3682513 w 12192001"/>
              <a:gd name="connsiteY180" fmla="*/ 2018290 h 2344739"/>
              <a:gd name="connsiteX181" fmla="*/ 3610035 w 12192001"/>
              <a:gd name="connsiteY181" fmla="*/ 1986019 h 2344739"/>
              <a:gd name="connsiteX182" fmla="*/ 3603855 w 12192001"/>
              <a:gd name="connsiteY182" fmla="*/ 1987381 h 2344739"/>
              <a:gd name="connsiteX183" fmla="*/ 3594736 w 12192001"/>
              <a:gd name="connsiteY183" fmla="*/ 1987545 h 2344739"/>
              <a:gd name="connsiteX184" fmla="*/ 3594501 w 12192001"/>
              <a:gd name="connsiteY184" fmla="*/ 1987276 h 2344739"/>
              <a:gd name="connsiteX185" fmla="*/ 3585978 w 12192001"/>
              <a:gd name="connsiteY185" fmla="*/ 1987966 h 2344739"/>
              <a:gd name="connsiteX186" fmla="*/ 3536135 w 12192001"/>
              <a:gd name="connsiteY186" fmla="*/ 1978267 h 2344739"/>
              <a:gd name="connsiteX187" fmla="*/ 3473223 w 12192001"/>
              <a:gd name="connsiteY187" fmla="*/ 1974606 h 2344739"/>
              <a:gd name="connsiteX188" fmla="*/ 3400728 w 12192001"/>
              <a:gd name="connsiteY188" fmla="*/ 1962558 h 2344739"/>
              <a:gd name="connsiteX189" fmla="*/ 3363888 w 12192001"/>
              <a:gd name="connsiteY189" fmla="*/ 1979510 h 2344739"/>
              <a:gd name="connsiteX190" fmla="*/ 3344026 w 12192001"/>
              <a:gd name="connsiteY190" fmla="*/ 1981192 h 2344739"/>
              <a:gd name="connsiteX191" fmla="*/ 3341698 w 12192001"/>
              <a:gd name="connsiteY191" fmla="*/ 1980217 h 2344739"/>
              <a:gd name="connsiteX192" fmla="*/ 3262356 w 12192001"/>
              <a:gd name="connsiteY192" fmla="*/ 1986094 h 2344739"/>
              <a:gd name="connsiteX193" fmla="*/ 3142556 w 12192001"/>
              <a:gd name="connsiteY193" fmla="*/ 1993869 h 2344739"/>
              <a:gd name="connsiteX194" fmla="*/ 3030291 w 12192001"/>
              <a:gd name="connsiteY194" fmla="*/ 1996512 h 2344739"/>
              <a:gd name="connsiteX195" fmla="*/ 2781569 w 12192001"/>
              <a:gd name="connsiteY195" fmla="*/ 2018333 h 2344739"/>
              <a:gd name="connsiteX196" fmla="*/ 2646527 w 12192001"/>
              <a:gd name="connsiteY196" fmla="*/ 2028869 h 2344739"/>
              <a:gd name="connsiteX197" fmla="*/ 2568028 w 12192001"/>
              <a:gd name="connsiteY197" fmla="*/ 2002628 h 2344739"/>
              <a:gd name="connsiteX198" fmla="*/ 2443255 w 12192001"/>
              <a:gd name="connsiteY198" fmla="*/ 2016529 h 2344739"/>
              <a:gd name="connsiteX199" fmla="*/ 2315112 w 12192001"/>
              <a:gd name="connsiteY199" fmla="*/ 2024996 h 2344739"/>
              <a:gd name="connsiteX200" fmla="*/ 2208578 w 12192001"/>
              <a:gd name="connsiteY200" fmla="*/ 2019763 h 2344739"/>
              <a:gd name="connsiteX201" fmla="*/ 2094665 w 12192001"/>
              <a:gd name="connsiteY201" fmla="*/ 2003052 h 2344739"/>
              <a:gd name="connsiteX202" fmla="*/ 1997356 w 12192001"/>
              <a:gd name="connsiteY202" fmla="*/ 1995032 h 2344739"/>
              <a:gd name="connsiteX203" fmla="*/ 1928172 w 12192001"/>
              <a:gd name="connsiteY203" fmla="*/ 2016977 h 2344739"/>
              <a:gd name="connsiteX204" fmla="*/ 1921650 w 12192001"/>
              <a:gd name="connsiteY204" fmla="*/ 2012146 h 2344739"/>
              <a:gd name="connsiteX205" fmla="*/ 1873080 w 12192001"/>
              <a:gd name="connsiteY205" fmla="*/ 2013741 h 2344739"/>
              <a:gd name="connsiteX206" fmla="*/ 1786655 w 12192001"/>
              <a:gd name="connsiteY206" fmla="*/ 2041363 h 2344739"/>
              <a:gd name="connsiteX207" fmla="*/ 1738204 w 12192001"/>
              <a:gd name="connsiteY207" fmla="*/ 2036312 h 2344739"/>
              <a:gd name="connsiteX208" fmla="*/ 1675071 w 12192001"/>
              <a:gd name="connsiteY208" fmla="*/ 2019963 h 2344739"/>
              <a:gd name="connsiteX209" fmla="*/ 1608669 w 12192001"/>
              <a:gd name="connsiteY209" fmla="*/ 2013066 h 2344739"/>
              <a:gd name="connsiteX210" fmla="*/ 1496110 w 12192001"/>
              <a:gd name="connsiteY210" fmla="*/ 1987476 h 2344739"/>
              <a:gd name="connsiteX211" fmla="*/ 1149979 w 12192001"/>
              <a:gd name="connsiteY211" fmla="*/ 1938041 h 2344739"/>
              <a:gd name="connsiteX212" fmla="*/ 858269 w 12192001"/>
              <a:gd name="connsiteY212" fmla="*/ 1928608 h 2344739"/>
              <a:gd name="connsiteX213" fmla="*/ 837540 w 12192001"/>
              <a:gd name="connsiteY213" fmla="*/ 1929821 h 2344739"/>
              <a:gd name="connsiteX214" fmla="*/ 816809 w 12192001"/>
              <a:gd name="connsiteY214" fmla="*/ 1927857 h 2344739"/>
              <a:gd name="connsiteX215" fmla="*/ 811506 w 12192001"/>
              <a:gd name="connsiteY215" fmla="*/ 1930751 h 2344739"/>
              <a:gd name="connsiteX216" fmla="*/ 797041 w 12192001"/>
              <a:gd name="connsiteY216" fmla="*/ 1930446 h 2344739"/>
              <a:gd name="connsiteX217" fmla="*/ 767901 w 12192001"/>
              <a:gd name="connsiteY217" fmla="*/ 1932653 h 2344739"/>
              <a:gd name="connsiteX218" fmla="*/ 763053 w 12192001"/>
              <a:gd name="connsiteY218" fmla="*/ 1930432 h 2344739"/>
              <a:gd name="connsiteX219" fmla="*/ 720047 w 12192001"/>
              <a:gd name="connsiteY219" fmla="*/ 1929661 h 2344739"/>
              <a:gd name="connsiteX220" fmla="*/ 719742 w 12192001"/>
              <a:gd name="connsiteY220" fmla="*/ 1928399 h 2344739"/>
              <a:gd name="connsiteX221" fmla="*/ 708875 w 12192001"/>
              <a:gd name="connsiteY221" fmla="*/ 1922722 h 2344739"/>
              <a:gd name="connsiteX222" fmla="*/ 596792 w 12192001"/>
              <a:gd name="connsiteY222" fmla="*/ 1879864 h 2344739"/>
              <a:gd name="connsiteX223" fmla="*/ 578535 w 12192001"/>
              <a:gd name="connsiteY223" fmla="*/ 1877212 h 2344739"/>
              <a:gd name="connsiteX224" fmla="*/ 571717 w 12192001"/>
              <a:gd name="connsiteY224" fmla="*/ 1877401 h 2344739"/>
              <a:gd name="connsiteX225" fmla="*/ 445099 w 12192001"/>
              <a:gd name="connsiteY225" fmla="*/ 1839371 h 2344739"/>
              <a:gd name="connsiteX226" fmla="*/ 404015 w 12192001"/>
              <a:gd name="connsiteY226" fmla="*/ 1833548 h 2344739"/>
              <a:gd name="connsiteX227" fmla="*/ 292435 w 12192001"/>
              <a:gd name="connsiteY227" fmla="*/ 1812852 h 2344739"/>
              <a:gd name="connsiteX228" fmla="*/ 118381 w 12192001"/>
              <a:gd name="connsiteY228" fmla="*/ 1761047 h 2344739"/>
              <a:gd name="connsiteX229" fmla="*/ 15526 w 12192001"/>
              <a:gd name="connsiteY229" fmla="*/ 1758191 h 2344739"/>
              <a:gd name="connsiteX230" fmla="*/ 2 w 12192001"/>
              <a:gd name="connsiteY230" fmla="*/ 1752722 h 2344739"/>
              <a:gd name="connsiteX231" fmla="*/ 1 w 12192001"/>
              <a:gd name="connsiteY231" fmla="*/ 762497 h 2344739"/>
              <a:gd name="connsiteX232" fmla="*/ 0 w 12192001"/>
              <a:gd name="connsiteY232" fmla="*/ 762497 h 2344739"/>
              <a:gd name="connsiteX233" fmla="*/ 0 w 12192001"/>
              <a:gd name="connsiteY233" fmla="*/ 222213 h 2344739"/>
              <a:gd name="connsiteX234" fmla="*/ 0 w 12192001"/>
              <a:gd name="connsiteY234"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522499 w 12192001"/>
              <a:gd name="connsiteY25" fmla="*/ 1207528 h 2344739"/>
              <a:gd name="connsiteX26" fmla="*/ 11245526 w 12192001"/>
              <a:gd name="connsiteY26" fmla="*/ 1274060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51232 w 12192001"/>
              <a:gd name="connsiteY69" fmla="*/ 1923669 h 2344739"/>
              <a:gd name="connsiteX70" fmla="*/ 9150210 w 12192001"/>
              <a:gd name="connsiteY70" fmla="*/ 1922604 h 2344739"/>
              <a:gd name="connsiteX71" fmla="*/ 9137318 w 12192001"/>
              <a:gd name="connsiteY71" fmla="*/ 1920435 h 2344739"/>
              <a:gd name="connsiteX72" fmla="*/ 9113812 w 12192001"/>
              <a:gd name="connsiteY72" fmla="*/ 1919069 h 2344739"/>
              <a:gd name="connsiteX73" fmla="*/ 9053453 w 12192001"/>
              <a:gd name="connsiteY73" fmla="*/ 1910755 h 2344739"/>
              <a:gd name="connsiteX74" fmla="*/ 9005486 w 12192001"/>
              <a:gd name="connsiteY74" fmla="*/ 1914040 h 2344739"/>
              <a:gd name="connsiteX75" fmla="*/ 9005201 w 12192001"/>
              <a:gd name="connsiteY75" fmla="*/ 1913800 h 2344739"/>
              <a:gd name="connsiteX76" fmla="*/ 8996232 w 12192001"/>
              <a:gd name="connsiteY76" fmla="*/ 1915011 h 2344739"/>
              <a:gd name="connsiteX77" fmla="*/ 8990394 w 12192001"/>
              <a:gd name="connsiteY77" fmla="*/ 1917072 h 2344739"/>
              <a:gd name="connsiteX78" fmla="*/ 8974337 w 12192001"/>
              <a:gd name="connsiteY78" fmla="*/ 1920298 h 2344739"/>
              <a:gd name="connsiteX79" fmla="*/ 8968011 w 12192001"/>
              <a:gd name="connsiteY79" fmla="*/ 1919598 h 2344739"/>
              <a:gd name="connsiteX80" fmla="*/ 8963048 w 12192001"/>
              <a:gd name="connsiteY80" fmla="*/ 1917373 h 2344739"/>
              <a:gd name="connsiteX81" fmla="*/ 8928988 w 12192001"/>
              <a:gd name="connsiteY81" fmla="*/ 1914185 h 2344739"/>
              <a:gd name="connsiteX82" fmla="*/ 8752444 w 12192001"/>
              <a:gd name="connsiteY82" fmla="*/ 1933417 h 2344739"/>
              <a:gd name="connsiteX83" fmla="*/ 8707847 w 12192001"/>
              <a:gd name="connsiteY83" fmla="*/ 1935518 h 2344739"/>
              <a:gd name="connsiteX84" fmla="*/ 8596071 w 12192001"/>
              <a:gd name="connsiteY84" fmla="*/ 1944090 h 2344739"/>
              <a:gd name="connsiteX85" fmla="*/ 8525230 w 12192001"/>
              <a:gd name="connsiteY85" fmla="*/ 1929248 h 2344739"/>
              <a:gd name="connsiteX86" fmla="*/ 8510983 w 12192001"/>
              <a:gd name="connsiteY86" fmla="*/ 1935163 h 2344739"/>
              <a:gd name="connsiteX87" fmla="*/ 8506167 w 12192001"/>
              <a:gd name="connsiteY87" fmla="*/ 1938164 h 2344739"/>
              <a:gd name="connsiteX88" fmla="*/ 8497968 w 12192001"/>
              <a:gd name="connsiteY88" fmla="*/ 1940902 h 2344739"/>
              <a:gd name="connsiteX89" fmla="*/ 8497594 w 12192001"/>
              <a:gd name="connsiteY89" fmla="*/ 1940723 h 2344739"/>
              <a:gd name="connsiteX90" fmla="*/ 8490249 w 12192001"/>
              <a:gd name="connsiteY90" fmla="*/ 1943773 h 2344739"/>
              <a:gd name="connsiteX91" fmla="*/ 8367182 w 12192001"/>
              <a:gd name="connsiteY91" fmla="*/ 1957815 h 2344739"/>
              <a:gd name="connsiteX92" fmla="*/ 8353799 w 12192001"/>
              <a:gd name="connsiteY92" fmla="*/ 1958009 h 2344739"/>
              <a:gd name="connsiteX93" fmla="*/ 8352373 w 12192001"/>
              <a:gd name="connsiteY93" fmla="*/ 1957169 h 2344739"/>
              <a:gd name="connsiteX94" fmla="*/ 8320104 w 12192001"/>
              <a:gd name="connsiteY94" fmla="*/ 1974587 h 2344739"/>
              <a:gd name="connsiteX95" fmla="*/ 8314433 w 12192001"/>
              <a:gd name="connsiteY95" fmla="*/ 1974913 h 2344739"/>
              <a:gd name="connsiteX96" fmla="*/ 8295174 w 12192001"/>
              <a:gd name="connsiteY96" fmla="*/ 1988808 h 2344739"/>
              <a:gd name="connsiteX97" fmla="*/ 8284276 w 12192001"/>
              <a:gd name="connsiteY97" fmla="*/ 1994631 h 2344739"/>
              <a:gd name="connsiteX98" fmla="*/ 8283150 w 12192001"/>
              <a:gd name="connsiteY98" fmla="*/ 1999074 h 2344739"/>
              <a:gd name="connsiteX99" fmla="*/ 8266076 w 12192001"/>
              <a:gd name="connsiteY99" fmla="*/ 2006249 h 2344739"/>
              <a:gd name="connsiteX100" fmla="*/ 8263377 w 12192001"/>
              <a:gd name="connsiteY100" fmla="*/ 2006019 h 2344739"/>
              <a:gd name="connsiteX101" fmla="*/ 8252033 w 12192001"/>
              <a:gd name="connsiteY101" fmla="*/ 2015862 h 2344739"/>
              <a:gd name="connsiteX102" fmla="*/ 8245834 w 12192001"/>
              <a:gd name="connsiteY102" fmla="*/ 2028854 h 2344739"/>
              <a:gd name="connsiteX103" fmla="*/ 8090272 w 12192001"/>
              <a:gd name="connsiteY103" fmla="*/ 2075015 h 2344739"/>
              <a:gd name="connsiteX104" fmla="*/ 7905407 w 12192001"/>
              <a:gd name="connsiteY104" fmla="*/ 2116988 h 2344739"/>
              <a:gd name="connsiteX105" fmla="*/ 7718745 w 12192001"/>
              <a:gd name="connsiteY105" fmla="*/ 2142703 h 2344739"/>
              <a:gd name="connsiteX106" fmla="*/ 7614347 w 12192001"/>
              <a:gd name="connsiteY106" fmla="*/ 2139232 h 2344739"/>
              <a:gd name="connsiteX107" fmla="*/ 7527543 w 12192001"/>
              <a:gd name="connsiteY107" fmla="*/ 2145060 h 2344739"/>
              <a:gd name="connsiteX108" fmla="*/ 7519571 w 12192001"/>
              <a:gd name="connsiteY108" fmla="*/ 2147613 h 2344739"/>
              <a:gd name="connsiteX109" fmla="*/ 7507411 w 12192001"/>
              <a:gd name="connsiteY109" fmla="*/ 2148948 h 2344739"/>
              <a:gd name="connsiteX110" fmla="*/ 7507040 w 12192001"/>
              <a:gd name="connsiteY110" fmla="*/ 2148621 h 2344739"/>
              <a:gd name="connsiteX111" fmla="*/ 7495795 w 12192001"/>
              <a:gd name="connsiteY111" fmla="*/ 2150573 h 2344739"/>
              <a:gd name="connsiteX112" fmla="*/ 7405391 w 12192001"/>
              <a:gd name="connsiteY112" fmla="*/ 2142468 h 2344739"/>
              <a:gd name="connsiteX113" fmla="*/ 7312180 w 12192001"/>
              <a:gd name="connsiteY113" fmla="*/ 2132873 h 2344739"/>
              <a:gd name="connsiteX114" fmla="*/ 7310853 w 12192001"/>
              <a:gd name="connsiteY114" fmla="*/ 2131431 h 2344739"/>
              <a:gd name="connsiteX115" fmla="*/ 7218559 w 12192001"/>
              <a:gd name="connsiteY115" fmla="*/ 2156680 h 2344739"/>
              <a:gd name="connsiteX116" fmla="*/ 7201101 w 12192001"/>
              <a:gd name="connsiteY116" fmla="*/ 2161230 h 2344739"/>
              <a:gd name="connsiteX117" fmla="*/ 7197004 w 12192001"/>
              <a:gd name="connsiteY117" fmla="*/ 2166588 h 2344739"/>
              <a:gd name="connsiteX118" fmla="*/ 7170808 w 12192001"/>
              <a:gd name="connsiteY118" fmla="*/ 2171236 h 2344739"/>
              <a:gd name="connsiteX119" fmla="*/ 7096988 w 12192001"/>
              <a:gd name="connsiteY119" fmla="*/ 2183464 h 2344739"/>
              <a:gd name="connsiteX120" fmla="*/ 7018496 w 12192001"/>
              <a:gd name="connsiteY120" fmla="*/ 2183090 h 2344739"/>
              <a:gd name="connsiteX121" fmla="*/ 6904146 w 12192001"/>
              <a:gd name="connsiteY121" fmla="*/ 2212596 h 2344739"/>
              <a:gd name="connsiteX122" fmla="*/ 6708222 w 12192001"/>
              <a:gd name="connsiteY122" fmla="*/ 2240551 h 2344739"/>
              <a:gd name="connsiteX123" fmla="*/ 6549454 w 12192001"/>
              <a:gd name="connsiteY123" fmla="*/ 2269327 h 2344739"/>
              <a:gd name="connsiteX124" fmla="*/ 6317560 w 12192001"/>
              <a:gd name="connsiteY124" fmla="*/ 2316127 h 2344739"/>
              <a:gd name="connsiteX125" fmla="*/ 6168674 w 12192001"/>
              <a:gd name="connsiteY125" fmla="*/ 2318214 h 2344739"/>
              <a:gd name="connsiteX126" fmla="*/ 6073848 w 12192001"/>
              <a:gd name="connsiteY126" fmla="*/ 2338676 h 2344739"/>
              <a:gd name="connsiteX127" fmla="*/ 6068529 w 12192001"/>
              <a:gd name="connsiteY127" fmla="*/ 2337139 h 2344739"/>
              <a:gd name="connsiteX128" fmla="*/ 6048638 w 12192001"/>
              <a:gd name="connsiteY128" fmla="*/ 2337822 h 2344739"/>
              <a:gd name="connsiteX129" fmla="*/ 6041285 w 12192001"/>
              <a:gd name="connsiteY129" fmla="*/ 2329473 h 2344739"/>
              <a:gd name="connsiteX130" fmla="*/ 6010090 w 12192001"/>
              <a:gd name="connsiteY130" fmla="*/ 2324380 h 2344739"/>
              <a:gd name="connsiteX131" fmla="*/ 5957375 w 12192001"/>
              <a:gd name="connsiteY131" fmla="*/ 2328024 h 2344739"/>
              <a:gd name="connsiteX132" fmla="*/ 5758919 w 12192001"/>
              <a:gd name="connsiteY132" fmla="*/ 2343716 h 2344739"/>
              <a:gd name="connsiteX133" fmla="*/ 5626960 w 12192001"/>
              <a:gd name="connsiteY133" fmla="*/ 2344739 h 2344739"/>
              <a:gd name="connsiteX134" fmla="*/ 5470906 w 12192001"/>
              <a:gd name="connsiteY134" fmla="*/ 2330719 h 2344739"/>
              <a:gd name="connsiteX135" fmla="*/ 5432761 w 12192001"/>
              <a:gd name="connsiteY135" fmla="*/ 2319466 h 2344739"/>
              <a:gd name="connsiteX136" fmla="*/ 5381669 w 12192001"/>
              <a:gd name="connsiteY136" fmla="*/ 2301764 h 2344739"/>
              <a:gd name="connsiteX137" fmla="*/ 5261764 w 12192001"/>
              <a:gd name="connsiteY137" fmla="*/ 2281347 h 2344739"/>
              <a:gd name="connsiteX138" fmla="*/ 5222961 w 12192001"/>
              <a:gd name="connsiteY138" fmla="*/ 2270223 h 2344739"/>
              <a:gd name="connsiteX139" fmla="*/ 5174660 w 12192001"/>
              <a:gd name="connsiteY139" fmla="*/ 2267233 h 2344739"/>
              <a:gd name="connsiteX140" fmla="*/ 5156554 w 12192001"/>
              <a:gd name="connsiteY140" fmla="*/ 2260010 h 2344739"/>
              <a:gd name="connsiteX141" fmla="*/ 5142599 w 12192001"/>
              <a:gd name="connsiteY141" fmla="*/ 2256610 h 2344739"/>
              <a:gd name="connsiteX142" fmla="*/ 5139596 w 12192001"/>
              <a:gd name="connsiteY142" fmla="*/ 2254509 h 2344739"/>
              <a:gd name="connsiteX143" fmla="*/ 5121659 w 12192001"/>
              <a:gd name="connsiteY143" fmla="*/ 2243656 h 2344739"/>
              <a:gd name="connsiteX144" fmla="*/ 5065790 w 12192001"/>
              <a:gd name="connsiteY144" fmla="*/ 2250227 h 2344739"/>
              <a:gd name="connsiteX145" fmla="*/ 5011514 w 12192001"/>
              <a:gd name="connsiteY145" fmla="*/ 2233846 h 2344739"/>
              <a:gd name="connsiteX146" fmla="*/ 4840441 w 12192001"/>
              <a:gd name="connsiteY146" fmla="*/ 2209829 h 2344739"/>
              <a:gd name="connsiteX147" fmla="*/ 4762447 w 12192001"/>
              <a:gd name="connsiteY147" fmla="*/ 2182061 h 2344739"/>
              <a:gd name="connsiteX148" fmla="*/ 4723186 w 12192001"/>
              <a:gd name="connsiteY148" fmla="*/ 2173047 h 2344739"/>
              <a:gd name="connsiteX149" fmla="*/ 4721176 w 12192001"/>
              <a:gd name="connsiteY149" fmla="*/ 2172298 h 2344739"/>
              <a:gd name="connsiteX150" fmla="*/ 4722111 w 12192001"/>
              <a:gd name="connsiteY150" fmla="*/ 2172087 h 2344739"/>
              <a:gd name="connsiteX151" fmla="*/ 4717202 w 12192001"/>
              <a:gd name="connsiteY151" fmla="*/ 2170817 h 2344739"/>
              <a:gd name="connsiteX152" fmla="*/ 4721176 w 12192001"/>
              <a:gd name="connsiteY152" fmla="*/ 2172298 h 2344739"/>
              <a:gd name="connsiteX153" fmla="*/ 4715526 w 12192001"/>
              <a:gd name="connsiteY153" fmla="*/ 2173573 h 2344739"/>
              <a:gd name="connsiteX154" fmla="*/ 4515814 w 12192001"/>
              <a:gd name="connsiteY154" fmla="*/ 2163671 h 2344739"/>
              <a:gd name="connsiteX155" fmla="*/ 4428543 w 12192001"/>
              <a:gd name="connsiteY155" fmla="*/ 2153020 h 2344739"/>
              <a:gd name="connsiteX156" fmla="*/ 4362875 w 12192001"/>
              <a:gd name="connsiteY156" fmla="*/ 2151674 h 2344739"/>
              <a:gd name="connsiteX157" fmla="*/ 4316966 w 12192001"/>
              <a:gd name="connsiteY157" fmla="*/ 2158289 h 2344739"/>
              <a:gd name="connsiteX158" fmla="*/ 4315110 w 12192001"/>
              <a:gd name="connsiteY158" fmla="*/ 2156948 h 2344739"/>
              <a:gd name="connsiteX159" fmla="*/ 4295144 w 12192001"/>
              <a:gd name="connsiteY159" fmla="*/ 2155069 h 2344739"/>
              <a:gd name="connsiteX160" fmla="*/ 4290064 w 12192001"/>
              <a:gd name="connsiteY160" fmla="*/ 2157986 h 2344739"/>
              <a:gd name="connsiteX161" fmla="*/ 4276142 w 12192001"/>
              <a:gd name="connsiteY161" fmla="*/ 2157740 h 2344739"/>
              <a:gd name="connsiteX162" fmla="*/ 4248117 w 12192001"/>
              <a:gd name="connsiteY162" fmla="*/ 2160064 h 2344739"/>
              <a:gd name="connsiteX163" fmla="*/ 4202051 w 12192001"/>
              <a:gd name="connsiteY163" fmla="*/ 2157269 h 2344739"/>
              <a:gd name="connsiteX164" fmla="*/ 4201745 w 12192001"/>
              <a:gd name="connsiteY164" fmla="*/ 2156010 h 2344739"/>
              <a:gd name="connsiteX165" fmla="*/ 4191248 w 12192001"/>
              <a:gd name="connsiteY165" fmla="*/ 2150376 h 2344739"/>
              <a:gd name="connsiteX166" fmla="*/ 4142745 w 12192001"/>
              <a:gd name="connsiteY166" fmla="*/ 2134511 h 2344739"/>
              <a:gd name="connsiteX167" fmla="*/ 4083097 w 12192001"/>
              <a:gd name="connsiteY167" fmla="*/ 2107978 h 2344739"/>
              <a:gd name="connsiteX168" fmla="*/ 4074546 w 12192001"/>
              <a:gd name="connsiteY168" fmla="*/ 2107143 h 2344739"/>
              <a:gd name="connsiteX169" fmla="*/ 4074427 w 12192001"/>
              <a:gd name="connsiteY169" fmla="*/ 2106844 h 2344739"/>
              <a:gd name="connsiteX170" fmla="*/ 4065510 w 12192001"/>
              <a:gd name="connsiteY170" fmla="*/ 2105400 h 2344739"/>
              <a:gd name="connsiteX171" fmla="*/ 4058954 w 12192001"/>
              <a:gd name="connsiteY171" fmla="*/ 2105618 h 2344739"/>
              <a:gd name="connsiteX172" fmla="*/ 4042364 w 12192001"/>
              <a:gd name="connsiteY172" fmla="*/ 2103997 h 2344739"/>
              <a:gd name="connsiteX173" fmla="*/ 4036997 w 12192001"/>
              <a:gd name="connsiteY173" fmla="*/ 2101563 h 2344739"/>
              <a:gd name="connsiteX174" fmla="*/ 4035363 w 12192001"/>
              <a:gd name="connsiteY174" fmla="*/ 2097896 h 2344739"/>
              <a:gd name="connsiteX175" fmla="*/ 4033778 w 12192001"/>
              <a:gd name="connsiteY175" fmla="*/ 2098131 h 2344739"/>
              <a:gd name="connsiteX176" fmla="*/ 4004538 w 12192001"/>
              <a:gd name="connsiteY176" fmla="*/ 2085563 h 2344739"/>
              <a:gd name="connsiteX177" fmla="*/ 3936846 w 12192001"/>
              <a:gd name="connsiteY177" fmla="*/ 2068106 h 2344739"/>
              <a:gd name="connsiteX178" fmla="*/ 3897275 w 12192001"/>
              <a:gd name="connsiteY178" fmla="*/ 2062451 h 2344739"/>
              <a:gd name="connsiteX179" fmla="*/ 3789760 w 12192001"/>
              <a:gd name="connsiteY179" fmla="*/ 2042213 h 2344739"/>
              <a:gd name="connsiteX180" fmla="*/ 3682513 w 12192001"/>
              <a:gd name="connsiteY180" fmla="*/ 2018290 h 2344739"/>
              <a:gd name="connsiteX181" fmla="*/ 3610035 w 12192001"/>
              <a:gd name="connsiteY181" fmla="*/ 1986019 h 2344739"/>
              <a:gd name="connsiteX182" fmla="*/ 3603855 w 12192001"/>
              <a:gd name="connsiteY182" fmla="*/ 1987381 h 2344739"/>
              <a:gd name="connsiteX183" fmla="*/ 3594736 w 12192001"/>
              <a:gd name="connsiteY183" fmla="*/ 1987545 h 2344739"/>
              <a:gd name="connsiteX184" fmla="*/ 3594501 w 12192001"/>
              <a:gd name="connsiteY184" fmla="*/ 1987276 h 2344739"/>
              <a:gd name="connsiteX185" fmla="*/ 3585978 w 12192001"/>
              <a:gd name="connsiteY185" fmla="*/ 1987966 h 2344739"/>
              <a:gd name="connsiteX186" fmla="*/ 3536135 w 12192001"/>
              <a:gd name="connsiteY186" fmla="*/ 1978267 h 2344739"/>
              <a:gd name="connsiteX187" fmla="*/ 3473223 w 12192001"/>
              <a:gd name="connsiteY187" fmla="*/ 1974606 h 2344739"/>
              <a:gd name="connsiteX188" fmla="*/ 3400728 w 12192001"/>
              <a:gd name="connsiteY188" fmla="*/ 1962558 h 2344739"/>
              <a:gd name="connsiteX189" fmla="*/ 3363888 w 12192001"/>
              <a:gd name="connsiteY189" fmla="*/ 1979510 h 2344739"/>
              <a:gd name="connsiteX190" fmla="*/ 3344026 w 12192001"/>
              <a:gd name="connsiteY190" fmla="*/ 1981192 h 2344739"/>
              <a:gd name="connsiteX191" fmla="*/ 3341698 w 12192001"/>
              <a:gd name="connsiteY191" fmla="*/ 1980217 h 2344739"/>
              <a:gd name="connsiteX192" fmla="*/ 3262356 w 12192001"/>
              <a:gd name="connsiteY192" fmla="*/ 1986094 h 2344739"/>
              <a:gd name="connsiteX193" fmla="*/ 3142556 w 12192001"/>
              <a:gd name="connsiteY193" fmla="*/ 1993869 h 2344739"/>
              <a:gd name="connsiteX194" fmla="*/ 3030291 w 12192001"/>
              <a:gd name="connsiteY194" fmla="*/ 1996512 h 2344739"/>
              <a:gd name="connsiteX195" fmla="*/ 2781569 w 12192001"/>
              <a:gd name="connsiteY195" fmla="*/ 2018333 h 2344739"/>
              <a:gd name="connsiteX196" fmla="*/ 2646527 w 12192001"/>
              <a:gd name="connsiteY196" fmla="*/ 2028869 h 2344739"/>
              <a:gd name="connsiteX197" fmla="*/ 2568028 w 12192001"/>
              <a:gd name="connsiteY197" fmla="*/ 2002628 h 2344739"/>
              <a:gd name="connsiteX198" fmla="*/ 2443255 w 12192001"/>
              <a:gd name="connsiteY198" fmla="*/ 2016529 h 2344739"/>
              <a:gd name="connsiteX199" fmla="*/ 2315112 w 12192001"/>
              <a:gd name="connsiteY199" fmla="*/ 2024996 h 2344739"/>
              <a:gd name="connsiteX200" fmla="*/ 2208578 w 12192001"/>
              <a:gd name="connsiteY200" fmla="*/ 2019763 h 2344739"/>
              <a:gd name="connsiteX201" fmla="*/ 2094665 w 12192001"/>
              <a:gd name="connsiteY201" fmla="*/ 2003052 h 2344739"/>
              <a:gd name="connsiteX202" fmla="*/ 1997356 w 12192001"/>
              <a:gd name="connsiteY202" fmla="*/ 1995032 h 2344739"/>
              <a:gd name="connsiteX203" fmla="*/ 1928172 w 12192001"/>
              <a:gd name="connsiteY203" fmla="*/ 2016977 h 2344739"/>
              <a:gd name="connsiteX204" fmla="*/ 1921650 w 12192001"/>
              <a:gd name="connsiteY204" fmla="*/ 2012146 h 2344739"/>
              <a:gd name="connsiteX205" fmla="*/ 1873080 w 12192001"/>
              <a:gd name="connsiteY205" fmla="*/ 2013741 h 2344739"/>
              <a:gd name="connsiteX206" fmla="*/ 1786655 w 12192001"/>
              <a:gd name="connsiteY206" fmla="*/ 2041363 h 2344739"/>
              <a:gd name="connsiteX207" fmla="*/ 1738204 w 12192001"/>
              <a:gd name="connsiteY207" fmla="*/ 2036312 h 2344739"/>
              <a:gd name="connsiteX208" fmla="*/ 1675071 w 12192001"/>
              <a:gd name="connsiteY208" fmla="*/ 2019963 h 2344739"/>
              <a:gd name="connsiteX209" fmla="*/ 1608669 w 12192001"/>
              <a:gd name="connsiteY209" fmla="*/ 2013066 h 2344739"/>
              <a:gd name="connsiteX210" fmla="*/ 1496110 w 12192001"/>
              <a:gd name="connsiteY210" fmla="*/ 1987476 h 2344739"/>
              <a:gd name="connsiteX211" fmla="*/ 1149979 w 12192001"/>
              <a:gd name="connsiteY211" fmla="*/ 1938041 h 2344739"/>
              <a:gd name="connsiteX212" fmla="*/ 858269 w 12192001"/>
              <a:gd name="connsiteY212" fmla="*/ 1928608 h 2344739"/>
              <a:gd name="connsiteX213" fmla="*/ 837540 w 12192001"/>
              <a:gd name="connsiteY213" fmla="*/ 1929821 h 2344739"/>
              <a:gd name="connsiteX214" fmla="*/ 816809 w 12192001"/>
              <a:gd name="connsiteY214" fmla="*/ 1927857 h 2344739"/>
              <a:gd name="connsiteX215" fmla="*/ 811506 w 12192001"/>
              <a:gd name="connsiteY215" fmla="*/ 1930751 h 2344739"/>
              <a:gd name="connsiteX216" fmla="*/ 797041 w 12192001"/>
              <a:gd name="connsiteY216" fmla="*/ 1930446 h 2344739"/>
              <a:gd name="connsiteX217" fmla="*/ 767901 w 12192001"/>
              <a:gd name="connsiteY217" fmla="*/ 1932653 h 2344739"/>
              <a:gd name="connsiteX218" fmla="*/ 763053 w 12192001"/>
              <a:gd name="connsiteY218" fmla="*/ 1930432 h 2344739"/>
              <a:gd name="connsiteX219" fmla="*/ 720047 w 12192001"/>
              <a:gd name="connsiteY219" fmla="*/ 1929661 h 2344739"/>
              <a:gd name="connsiteX220" fmla="*/ 719742 w 12192001"/>
              <a:gd name="connsiteY220" fmla="*/ 1928399 h 2344739"/>
              <a:gd name="connsiteX221" fmla="*/ 708875 w 12192001"/>
              <a:gd name="connsiteY221" fmla="*/ 1922722 h 2344739"/>
              <a:gd name="connsiteX222" fmla="*/ 596792 w 12192001"/>
              <a:gd name="connsiteY222" fmla="*/ 1879864 h 2344739"/>
              <a:gd name="connsiteX223" fmla="*/ 578535 w 12192001"/>
              <a:gd name="connsiteY223" fmla="*/ 1877212 h 2344739"/>
              <a:gd name="connsiteX224" fmla="*/ 571717 w 12192001"/>
              <a:gd name="connsiteY224" fmla="*/ 1877401 h 2344739"/>
              <a:gd name="connsiteX225" fmla="*/ 445099 w 12192001"/>
              <a:gd name="connsiteY225" fmla="*/ 1839371 h 2344739"/>
              <a:gd name="connsiteX226" fmla="*/ 404015 w 12192001"/>
              <a:gd name="connsiteY226" fmla="*/ 1833548 h 2344739"/>
              <a:gd name="connsiteX227" fmla="*/ 292435 w 12192001"/>
              <a:gd name="connsiteY227" fmla="*/ 1812852 h 2344739"/>
              <a:gd name="connsiteX228" fmla="*/ 118381 w 12192001"/>
              <a:gd name="connsiteY228" fmla="*/ 1761047 h 2344739"/>
              <a:gd name="connsiteX229" fmla="*/ 15526 w 12192001"/>
              <a:gd name="connsiteY229" fmla="*/ 1758191 h 2344739"/>
              <a:gd name="connsiteX230" fmla="*/ 2 w 12192001"/>
              <a:gd name="connsiteY230" fmla="*/ 1752722 h 2344739"/>
              <a:gd name="connsiteX231" fmla="*/ 1 w 12192001"/>
              <a:gd name="connsiteY231" fmla="*/ 762497 h 2344739"/>
              <a:gd name="connsiteX232" fmla="*/ 0 w 12192001"/>
              <a:gd name="connsiteY232" fmla="*/ 762497 h 2344739"/>
              <a:gd name="connsiteX233" fmla="*/ 0 w 12192001"/>
              <a:gd name="connsiteY233" fmla="*/ 222213 h 2344739"/>
              <a:gd name="connsiteX234" fmla="*/ 0 w 12192001"/>
              <a:gd name="connsiteY234"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95155 w 12192001"/>
              <a:gd name="connsiteY24" fmla="*/ 918898 h 2344739"/>
              <a:gd name="connsiteX25" fmla="*/ 11522499 w 12192001"/>
              <a:gd name="connsiteY25" fmla="*/ 999965 h 2344739"/>
              <a:gd name="connsiteX26" fmla="*/ 11245526 w 12192001"/>
              <a:gd name="connsiteY26" fmla="*/ 1274060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51232 w 12192001"/>
              <a:gd name="connsiteY69" fmla="*/ 1923669 h 2344739"/>
              <a:gd name="connsiteX70" fmla="*/ 9150210 w 12192001"/>
              <a:gd name="connsiteY70" fmla="*/ 1922604 h 2344739"/>
              <a:gd name="connsiteX71" fmla="*/ 9137318 w 12192001"/>
              <a:gd name="connsiteY71" fmla="*/ 1920435 h 2344739"/>
              <a:gd name="connsiteX72" fmla="*/ 9113812 w 12192001"/>
              <a:gd name="connsiteY72" fmla="*/ 1919069 h 2344739"/>
              <a:gd name="connsiteX73" fmla="*/ 9053453 w 12192001"/>
              <a:gd name="connsiteY73" fmla="*/ 1910755 h 2344739"/>
              <a:gd name="connsiteX74" fmla="*/ 9005486 w 12192001"/>
              <a:gd name="connsiteY74" fmla="*/ 1914040 h 2344739"/>
              <a:gd name="connsiteX75" fmla="*/ 9005201 w 12192001"/>
              <a:gd name="connsiteY75" fmla="*/ 1913800 h 2344739"/>
              <a:gd name="connsiteX76" fmla="*/ 8996232 w 12192001"/>
              <a:gd name="connsiteY76" fmla="*/ 1915011 h 2344739"/>
              <a:gd name="connsiteX77" fmla="*/ 8990394 w 12192001"/>
              <a:gd name="connsiteY77" fmla="*/ 1917072 h 2344739"/>
              <a:gd name="connsiteX78" fmla="*/ 8974337 w 12192001"/>
              <a:gd name="connsiteY78" fmla="*/ 1920298 h 2344739"/>
              <a:gd name="connsiteX79" fmla="*/ 8968011 w 12192001"/>
              <a:gd name="connsiteY79" fmla="*/ 1919598 h 2344739"/>
              <a:gd name="connsiteX80" fmla="*/ 8963048 w 12192001"/>
              <a:gd name="connsiteY80" fmla="*/ 1917373 h 2344739"/>
              <a:gd name="connsiteX81" fmla="*/ 8928988 w 12192001"/>
              <a:gd name="connsiteY81" fmla="*/ 1914185 h 2344739"/>
              <a:gd name="connsiteX82" fmla="*/ 8752444 w 12192001"/>
              <a:gd name="connsiteY82" fmla="*/ 1933417 h 2344739"/>
              <a:gd name="connsiteX83" fmla="*/ 8707847 w 12192001"/>
              <a:gd name="connsiteY83" fmla="*/ 1935518 h 2344739"/>
              <a:gd name="connsiteX84" fmla="*/ 8596071 w 12192001"/>
              <a:gd name="connsiteY84" fmla="*/ 1944090 h 2344739"/>
              <a:gd name="connsiteX85" fmla="*/ 8525230 w 12192001"/>
              <a:gd name="connsiteY85" fmla="*/ 1929248 h 2344739"/>
              <a:gd name="connsiteX86" fmla="*/ 8510983 w 12192001"/>
              <a:gd name="connsiteY86" fmla="*/ 1935163 h 2344739"/>
              <a:gd name="connsiteX87" fmla="*/ 8506167 w 12192001"/>
              <a:gd name="connsiteY87" fmla="*/ 1938164 h 2344739"/>
              <a:gd name="connsiteX88" fmla="*/ 8497968 w 12192001"/>
              <a:gd name="connsiteY88" fmla="*/ 1940902 h 2344739"/>
              <a:gd name="connsiteX89" fmla="*/ 8497594 w 12192001"/>
              <a:gd name="connsiteY89" fmla="*/ 1940723 h 2344739"/>
              <a:gd name="connsiteX90" fmla="*/ 8490249 w 12192001"/>
              <a:gd name="connsiteY90" fmla="*/ 1943773 h 2344739"/>
              <a:gd name="connsiteX91" fmla="*/ 8367182 w 12192001"/>
              <a:gd name="connsiteY91" fmla="*/ 1957815 h 2344739"/>
              <a:gd name="connsiteX92" fmla="*/ 8353799 w 12192001"/>
              <a:gd name="connsiteY92" fmla="*/ 1958009 h 2344739"/>
              <a:gd name="connsiteX93" fmla="*/ 8352373 w 12192001"/>
              <a:gd name="connsiteY93" fmla="*/ 1957169 h 2344739"/>
              <a:gd name="connsiteX94" fmla="*/ 8320104 w 12192001"/>
              <a:gd name="connsiteY94" fmla="*/ 1974587 h 2344739"/>
              <a:gd name="connsiteX95" fmla="*/ 8314433 w 12192001"/>
              <a:gd name="connsiteY95" fmla="*/ 1974913 h 2344739"/>
              <a:gd name="connsiteX96" fmla="*/ 8295174 w 12192001"/>
              <a:gd name="connsiteY96" fmla="*/ 1988808 h 2344739"/>
              <a:gd name="connsiteX97" fmla="*/ 8284276 w 12192001"/>
              <a:gd name="connsiteY97" fmla="*/ 1994631 h 2344739"/>
              <a:gd name="connsiteX98" fmla="*/ 8283150 w 12192001"/>
              <a:gd name="connsiteY98" fmla="*/ 1999074 h 2344739"/>
              <a:gd name="connsiteX99" fmla="*/ 8266076 w 12192001"/>
              <a:gd name="connsiteY99" fmla="*/ 2006249 h 2344739"/>
              <a:gd name="connsiteX100" fmla="*/ 8263377 w 12192001"/>
              <a:gd name="connsiteY100" fmla="*/ 2006019 h 2344739"/>
              <a:gd name="connsiteX101" fmla="*/ 8252033 w 12192001"/>
              <a:gd name="connsiteY101" fmla="*/ 2015862 h 2344739"/>
              <a:gd name="connsiteX102" fmla="*/ 8245834 w 12192001"/>
              <a:gd name="connsiteY102" fmla="*/ 2028854 h 2344739"/>
              <a:gd name="connsiteX103" fmla="*/ 8090272 w 12192001"/>
              <a:gd name="connsiteY103" fmla="*/ 2075015 h 2344739"/>
              <a:gd name="connsiteX104" fmla="*/ 7905407 w 12192001"/>
              <a:gd name="connsiteY104" fmla="*/ 2116988 h 2344739"/>
              <a:gd name="connsiteX105" fmla="*/ 7718745 w 12192001"/>
              <a:gd name="connsiteY105" fmla="*/ 2142703 h 2344739"/>
              <a:gd name="connsiteX106" fmla="*/ 7614347 w 12192001"/>
              <a:gd name="connsiteY106" fmla="*/ 2139232 h 2344739"/>
              <a:gd name="connsiteX107" fmla="*/ 7527543 w 12192001"/>
              <a:gd name="connsiteY107" fmla="*/ 2145060 h 2344739"/>
              <a:gd name="connsiteX108" fmla="*/ 7519571 w 12192001"/>
              <a:gd name="connsiteY108" fmla="*/ 2147613 h 2344739"/>
              <a:gd name="connsiteX109" fmla="*/ 7507411 w 12192001"/>
              <a:gd name="connsiteY109" fmla="*/ 2148948 h 2344739"/>
              <a:gd name="connsiteX110" fmla="*/ 7507040 w 12192001"/>
              <a:gd name="connsiteY110" fmla="*/ 2148621 h 2344739"/>
              <a:gd name="connsiteX111" fmla="*/ 7495795 w 12192001"/>
              <a:gd name="connsiteY111" fmla="*/ 2150573 h 2344739"/>
              <a:gd name="connsiteX112" fmla="*/ 7405391 w 12192001"/>
              <a:gd name="connsiteY112" fmla="*/ 2142468 h 2344739"/>
              <a:gd name="connsiteX113" fmla="*/ 7312180 w 12192001"/>
              <a:gd name="connsiteY113" fmla="*/ 2132873 h 2344739"/>
              <a:gd name="connsiteX114" fmla="*/ 7310853 w 12192001"/>
              <a:gd name="connsiteY114" fmla="*/ 2131431 h 2344739"/>
              <a:gd name="connsiteX115" fmla="*/ 7218559 w 12192001"/>
              <a:gd name="connsiteY115" fmla="*/ 2156680 h 2344739"/>
              <a:gd name="connsiteX116" fmla="*/ 7201101 w 12192001"/>
              <a:gd name="connsiteY116" fmla="*/ 2161230 h 2344739"/>
              <a:gd name="connsiteX117" fmla="*/ 7197004 w 12192001"/>
              <a:gd name="connsiteY117" fmla="*/ 2166588 h 2344739"/>
              <a:gd name="connsiteX118" fmla="*/ 7170808 w 12192001"/>
              <a:gd name="connsiteY118" fmla="*/ 2171236 h 2344739"/>
              <a:gd name="connsiteX119" fmla="*/ 7096988 w 12192001"/>
              <a:gd name="connsiteY119" fmla="*/ 2183464 h 2344739"/>
              <a:gd name="connsiteX120" fmla="*/ 7018496 w 12192001"/>
              <a:gd name="connsiteY120" fmla="*/ 2183090 h 2344739"/>
              <a:gd name="connsiteX121" fmla="*/ 6904146 w 12192001"/>
              <a:gd name="connsiteY121" fmla="*/ 2212596 h 2344739"/>
              <a:gd name="connsiteX122" fmla="*/ 6708222 w 12192001"/>
              <a:gd name="connsiteY122" fmla="*/ 2240551 h 2344739"/>
              <a:gd name="connsiteX123" fmla="*/ 6549454 w 12192001"/>
              <a:gd name="connsiteY123" fmla="*/ 2269327 h 2344739"/>
              <a:gd name="connsiteX124" fmla="*/ 6317560 w 12192001"/>
              <a:gd name="connsiteY124" fmla="*/ 2316127 h 2344739"/>
              <a:gd name="connsiteX125" fmla="*/ 6168674 w 12192001"/>
              <a:gd name="connsiteY125" fmla="*/ 2318214 h 2344739"/>
              <a:gd name="connsiteX126" fmla="*/ 6073848 w 12192001"/>
              <a:gd name="connsiteY126" fmla="*/ 2338676 h 2344739"/>
              <a:gd name="connsiteX127" fmla="*/ 6068529 w 12192001"/>
              <a:gd name="connsiteY127" fmla="*/ 2337139 h 2344739"/>
              <a:gd name="connsiteX128" fmla="*/ 6048638 w 12192001"/>
              <a:gd name="connsiteY128" fmla="*/ 2337822 h 2344739"/>
              <a:gd name="connsiteX129" fmla="*/ 6041285 w 12192001"/>
              <a:gd name="connsiteY129" fmla="*/ 2329473 h 2344739"/>
              <a:gd name="connsiteX130" fmla="*/ 6010090 w 12192001"/>
              <a:gd name="connsiteY130" fmla="*/ 2324380 h 2344739"/>
              <a:gd name="connsiteX131" fmla="*/ 5957375 w 12192001"/>
              <a:gd name="connsiteY131" fmla="*/ 2328024 h 2344739"/>
              <a:gd name="connsiteX132" fmla="*/ 5758919 w 12192001"/>
              <a:gd name="connsiteY132" fmla="*/ 2343716 h 2344739"/>
              <a:gd name="connsiteX133" fmla="*/ 5626960 w 12192001"/>
              <a:gd name="connsiteY133" fmla="*/ 2344739 h 2344739"/>
              <a:gd name="connsiteX134" fmla="*/ 5470906 w 12192001"/>
              <a:gd name="connsiteY134" fmla="*/ 2330719 h 2344739"/>
              <a:gd name="connsiteX135" fmla="*/ 5432761 w 12192001"/>
              <a:gd name="connsiteY135" fmla="*/ 2319466 h 2344739"/>
              <a:gd name="connsiteX136" fmla="*/ 5381669 w 12192001"/>
              <a:gd name="connsiteY136" fmla="*/ 2301764 h 2344739"/>
              <a:gd name="connsiteX137" fmla="*/ 5261764 w 12192001"/>
              <a:gd name="connsiteY137" fmla="*/ 2281347 h 2344739"/>
              <a:gd name="connsiteX138" fmla="*/ 5222961 w 12192001"/>
              <a:gd name="connsiteY138" fmla="*/ 2270223 h 2344739"/>
              <a:gd name="connsiteX139" fmla="*/ 5174660 w 12192001"/>
              <a:gd name="connsiteY139" fmla="*/ 2267233 h 2344739"/>
              <a:gd name="connsiteX140" fmla="*/ 5156554 w 12192001"/>
              <a:gd name="connsiteY140" fmla="*/ 2260010 h 2344739"/>
              <a:gd name="connsiteX141" fmla="*/ 5142599 w 12192001"/>
              <a:gd name="connsiteY141" fmla="*/ 2256610 h 2344739"/>
              <a:gd name="connsiteX142" fmla="*/ 5139596 w 12192001"/>
              <a:gd name="connsiteY142" fmla="*/ 2254509 h 2344739"/>
              <a:gd name="connsiteX143" fmla="*/ 5121659 w 12192001"/>
              <a:gd name="connsiteY143" fmla="*/ 2243656 h 2344739"/>
              <a:gd name="connsiteX144" fmla="*/ 5065790 w 12192001"/>
              <a:gd name="connsiteY144" fmla="*/ 2250227 h 2344739"/>
              <a:gd name="connsiteX145" fmla="*/ 5011514 w 12192001"/>
              <a:gd name="connsiteY145" fmla="*/ 2233846 h 2344739"/>
              <a:gd name="connsiteX146" fmla="*/ 4840441 w 12192001"/>
              <a:gd name="connsiteY146" fmla="*/ 2209829 h 2344739"/>
              <a:gd name="connsiteX147" fmla="*/ 4762447 w 12192001"/>
              <a:gd name="connsiteY147" fmla="*/ 2182061 h 2344739"/>
              <a:gd name="connsiteX148" fmla="*/ 4723186 w 12192001"/>
              <a:gd name="connsiteY148" fmla="*/ 2173047 h 2344739"/>
              <a:gd name="connsiteX149" fmla="*/ 4721176 w 12192001"/>
              <a:gd name="connsiteY149" fmla="*/ 2172298 h 2344739"/>
              <a:gd name="connsiteX150" fmla="*/ 4722111 w 12192001"/>
              <a:gd name="connsiteY150" fmla="*/ 2172087 h 2344739"/>
              <a:gd name="connsiteX151" fmla="*/ 4717202 w 12192001"/>
              <a:gd name="connsiteY151" fmla="*/ 2170817 h 2344739"/>
              <a:gd name="connsiteX152" fmla="*/ 4721176 w 12192001"/>
              <a:gd name="connsiteY152" fmla="*/ 2172298 h 2344739"/>
              <a:gd name="connsiteX153" fmla="*/ 4715526 w 12192001"/>
              <a:gd name="connsiteY153" fmla="*/ 2173573 h 2344739"/>
              <a:gd name="connsiteX154" fmla="*/ 4515814 w 12192001"/>
              <a:gd name="connsiteY154" fmla="*/ 2163671 h 2344739"/>
              <a:gd name="connsiteX155" fmla="*/ 4428543 w 12192001"/>
              <a:gd name="connsiteY155" fmla="*/ 2153020 h 2344739"/>
              <a:gd name="connsiteX156" fmla="*/ 4362875 w 12192001"/>
              <a:gd name="connsiteY156" fmla="*/ 2151674 h 2344739"/>
              <a:gd name="connsiteX157" fmla="*/ 4316966 w 12192001"/>
              <a:gd name="connsiteY157" fmla="*/ 2158289 h 2344739"/>
              <a:gd name="connsiteX158" fmla="*/ 4315110 w 12192001"/>
              <a:gd name="connsiteY158" fmla="*/ 2156948 h 2344739"/>
              <a:gd name="connsiteX159" fmla="*/ 4295144 w 12192001"/>
              <a:gd name="connsiteY159" fmla="*/ 2155069 h 2344739"/>
              <a:gd name="connsiteX160" fmla="*/ 4290064 w 12192001"/>
              <a:gd name="connsiteY160" fmla="*/ 2157986 h 2344739"/>
              <a:gd name="connsiteX161" fmla="*/ 4276142 w 12192001"/>
              <a:gd name="connsiteY161" fmla="*/ 2157740 h 2344739"/>
              <a:gd name="connsiteX162" fmla="*/ 4248117 w 12192001"/>
              <a:gd name="connsiteY162" fmla="*/ 2160064 h 2344739"/>
              <a:gd name="connsiteX163" fmla="*/ 4202051 w 12192001"/>
              <a:gd name="connsiteY163" fmla="*/ 2157269 h 2344739"/>
              <a:gd name="connsiteX164" fmla="*/ 4201745 w 12192001"/>
              <a:gd name="connsiteY164" fmla="*/ 2156010 h 2344739"/>
              <a:gd name="connsiteX165" fmla="*/ 4191248 w 12192001"/>
              <a:gd name="connsiteY165" fmla="*/ 2150376 h 2344739"/>
              <a:gd name="connsiteX166" fmla="*/ 4142745 w 12192001"/>
              <a:gd name="connsiteY166" fmla="*/ 2134511 h 2344739"/>
              <a:gd name="connsiteX167" fmla="*/ 4083097 w 12192001"/>
              <a:gd name="connsiteY167" fmla="*/ 2107978 h 2344739"/>
              <a:gd name="connsiteX168" fmla="*/ 4074546 w 12192001"/>
              <a:gd name="connsiteY168" fmla="*/ 2107143 h 2344739"/>
              <a:gd name="connsiteX169" fmla="*/ 4074427 w 12192001"/>
              <a:gd name="connsiteY169" fmla="*/ 2106844 h 2344739"/>
              <a:gd name="connsiteX170" fmla="*/ 4065510 w 12192001"/>
              <a:gd name="connsiteY170" fmla="*/ 2105400 h 2344739"/>
              <a:gd name="connsiteX171" fmla="*/ 4058954 w 12192001"/>
              <a:gd name="connsiteY171" fmla="*/ 2105618 h 2344739"/>
              <a:gd name="connsiteX172" fmla="*/ 4042364 w 12192001"/>
              <a:gd name="connsiteY172" fmla="*/ 2103997 h 2344739"/>
              <a:gd name="connsiteX173" fmla="*/ 4036997 w 12192001"/>
              <a:gd name="connsiteY173" fmla="*/ 2101563 h 2344739"/>
              <a:gd name="connsiteX174" fmla="*/ 4035363 w 12192001"/>
              <a:gd name="connsiteY174" fmla="*/ 2097896 h 2344739"/>
              <a:gd name="connsiteX175" fmla="*/ 4033778 w 12192001"/>
              <a:gd name="connsiteY175" fmla="*/ 2098131 h 2344739"/>
              <a:gd name="connsiteX176" fmla="*/ 4004538 w 12192001"/>
              <a:gd name="connsiteY176" fmla="*/ 2085563 h 2344739"/>
              <a:gd name="connsiteX177" fmla="*/ 3936846 w 12192001"/>
              <a:gd name="connsiteY177" fmla="*/ 2068106 h 2344739"/>
              <a:gd name="connsiteX178" fmla="*/ 3897275 w 12192001"/>
              <a:gd name="connsiteY178" fmla="*/ 2062451 h 2344739"/>
              <a:gd name="connsiteX179" fmla="*/ 3789760 w 12192001"/>
              <a:gd name="connsiteY179" fmla="*/ 2042213 h 2344739"/>
              <a:gd name="connsiteX180" fmla="*/ 3682513 w 12192001"/>
              <a:gd name="connsiteY180" fmla="*/ 2018290 h 2344739"/>
              <a:gd name="connsiteX181" fmla="*/ 3610035 w 12192001"/>
              <a:gd name="connsiteY181" fmla="*/ 1986019 h 2344739"/>
              <a:gd name="connsiteX182" fmla="*/ 3603855 w 12192001"/>
              <a:gd name="connsiteY182" fmla="*/ 1987381 h 2344739"/>
              <a:gd name="connsiteX183" fmla="*/ 3594736 w 12192001"/>
              <a:gd name="connsiteY183" fmla="*/ 1987545 h 2344739"/>
              <a:gd name="connsiteX184" fmla="*/ 3594501 w 12192001"/>
              <a:gd name="connsiteY184" fmla="*/ 1987276 h 2344739"/>
              <a:gd name="connsiteX185" fmla="*/ 3585978 w 12192001"/>
              <a:gd name="connsiteY185" fmla="*/ 1987966 h 2344739"/>
              <a:gd name="connsiteX186" fmla="*/ 3536135 w 12192001"/>
              <a:gd name="connsiteY186" fmla="*/ 1978267 h 2344739"/>
              <a:gd name="connsiteX187" fmla="*/ 3473223 w 12192001"/>
              <a:gd name="connsiteY187" fmla="*/ 1974606 h 2344739"/>
              <a:gd name="connsiteX188" fmla="*/ 3400728 w 12192001"/>
              <a:gd name="connsiteY188" fmla="*/ 1962558 h 2344739"/>
              <a:gd name="connsiteX189" fmla="*/ 3363888 w 12192001"/>
              <a:gd name="connsiteY189" fmla="*/ 1979510 h 2344739"/>
              <a:gd name="connsiteX190" fmla="*/ 3344026 w 12192001"/>
              <a:gd name="connsiteY190" fmla="*/ 1981192 h 2344739"/>
              <a:gd name="connsiteX191" fmla="*/ 3341698 w 12192001"/>
              <a:gd name="connsiteY191" fmla="*/ 1980217 h 2344739"/>
              <a:gd name="connsiteX192" fmla="*/ 3262356 w 12192001"/>
              <a:gd name="connsiteY192" fmla="*/ 1986094 h 2344739"/>
              <a:gd name="connsiteX193" fmla="*/ 3142556 w 12192001"/>
              <a:gd name="connsiteY193" fmla="*/ 1993869 h 2344739"/>
              <a:gd name="connsiteX194" fmla="*/ 3030291 w 12192001"/>
              <a:gd name="connsiteY194" fmla="*/ 1996512 h 2344739"/>
              <a:gd name="connsiteX195" fmla="*/ 2781569 w 12192001"/>
              <a:gd name="connsiteY195" fmla="*/ 2018333 h 2344739"/>
              <a:gd name="connsiteX196" fmla="*/ 2646527 w 12192001"/>
              <a:gd name="connsiteY196" fmla="*/ 2028869 h 2344739"/>
              <a:gd name="connsiteX197" fmla="*/ 2568028 w 12192001"/>
              <a:gd name="connsiteY197" fmla="*/ 2002628 h 2344739"/>
              <a:gd name="connsiteX198" fmla="*/ 2443255 w 12192001"/>
              <a:gd name="connsiteY198" fmla="*/ 2016529 h 2344739"/>
              <a:gd name="connsiteX199" fmla="*/ 2315112 w 12192001"/>
              <a:gd name="connsiteY199" fmla="*/ 2024996 h 2344739"/>
              <a:gd name="connsiteX200" fmla="*/ 2208578 w 12192001"/>
              <a:gd name="connsiteY200" fmla="*/ 2019763 h 2344739"/>
              <a:gd name="connsiteX201" fmla="*/ 2094665 w 12192001"/>
              <a:gd name="connsiteY201" fmla="*/ 2003052 h 2344739"/>
              <a:gd name="connsiteX202" fmla="*/ 1997356 w 12192001"/>
              <a:gd name="connsiteY202" fmla="*/ 1995032 h 2344739"/>
              <a:gd name="connsiteX203" fmla="*/ 1928172 w 12192001"/>
              <a:gd name="connsiteY203" fmla="*/ 2016977 h 2344739"/>
              <a:gd name="connsiteX204" fmla="*/ 1921650 w 12192001"/>
              <a:gd name="connsiteY204" fmla="*/ 2012146 h 2344739"/>
              <a:gd name="connsiteX205" fmla="*/ 1873080 w 12192001"/>
              <a:gd name="connsiteY205" fmla="*/ 2013741 h 2344739"/>
              <a:gd name="connsiteX206" fmla="*/ 1786655 w 12192001"/>
              <a:gd name="connsiteY206" fmla="*/ 2041363 h 2344739"/>
              <a:gd name="connsiteX207" fmla="*/ 1738204 w 12192001"/>
              <a:gd name="connsiteY207" fmla="*/ 2036312 h 2344739"/>
              <a:gd name="connsiteX208" fmla="*/ 1675071 w 12192001"/>
              <a:gd name="connsiteY208" fmla="*/ 2019963 h 2344739"/>
              <a:gd name="connsiteX209" fmla="*/ 1608669 w 12192001"/>
              <a:gd name="connsiteY209" fmla="*/ 2013066 h 2344739"/>
              <a:gd name="connsiteX210" fmla="*/ 1496110 w 12192001"/>
              <a:gd name="connsiteY210" fmla="*/ 1987476 h 2344739"/>
              <a:gd name="connsiteX211" fmla="*/ 1149979 w 12192001"/>
              <a:gd name="connsiteY211" fmla="*/ 1938041 h 2344739"/>
              <a:gd name="connsiteX212" fmla="*/ 858269 w 12192001"/>
              <a:gd name="connsiteY212" fmla="*/ 1928608 h 2344739"/>
              <a:gd name="connsiteX213" fmla="*/ 837540 w 12192001"/>
              <a:gd name="connsiteY213" fmla="*/ 1929821 h 2344739"/>
              <a:gd name="connsiteX214" fmla="*/ 816809 w 12192001"/>
              <a:gd name="connsiteY214" fmla="*/ 1927857 h 2344739"/>
              <a:gd name="connsiteX215" fmla="*/ 811506 w 12192001"/>
              <a:gd name="connsiteY215" fmla="*/ 1930751 h 2344739"/>
              <a:gd name="connsiteX216" fmla="*/ 797041 w 12192001"/>
              <a:gd name="connsiteY216" fmla="*/ 1930446 h 2344739"/>
              <a:gd name="connsiteX217" fmla="*/ 767901 w 12192001"/>
              <a:gd name="connsiteY217" fmla="*/ 1932653 h 2344739"/>
              <a:gd name="connsiteX218" fmla="*/ 763053 w 12192001"/>
              <a:gd name="connsiteY218" fmla="*/ 1930432 h 2344739"/>
              <a:gd name="connsiteX219" fmla="*/ 720047 w 12192001"/>
              <a:gd name="connsiteY219" fmla="*/ 1929661 h 2344739"/>
              <a:gd name="connsiteX220" fmla="*/ 719742 w 12192001"/>
              <a:gd name="connsiteY220" fmla="*/ 1928399 h 2344739"/>
              <a:gd name="connsiteX221" fmla="*/ 708875 w 12192001"/>
              <a:gd name="connsiteY221" fmla="*/ 1922722 h 2344739"/>
              <a:gd name="connsiteX222" fmla="*/ 596792 w 12192001"/>
              <a:gd name="connsiteY222" fmla="*/ 1879864 h 2344739"/>
              <a:gd name="connsiteX223" fmla="*/ 578535 w 12192001"/>
              <a:gd name="connsiteY223" fmla="*/ 1877212 h 2344739"/>
              <a:gd name="connsiteX224" fmla="*/ 571717 w 12192001"/>
              <a:gd name="connsiteY224" fmla="*/ 1877401 h 2344739"/>
              <a:gd name="connsiteX225" fmla="*/ 445099 w 12192001"/>
              <a:gd name="connsiteY225" fmla="*/ 1839371 h 2344739"/>
              <a:gd name="connsiteX226" fmla="*/ 404015 w 12192001"/>
              <a:gd name="connsiteY226" fmla="*/ 1833548 h 2344739"/>
              <a:gd name="connsiteX227" fmla="*/ 292435 w 12192001"/>
              <a:gd name="connsiteY227" fmla="*/ 1812852 h 2344739"/>
              <a:gd name="connsiteX228" fmla="*/ 118381 w 12192001"/>
              <a:gd name="connsiteY228" fmla="*/ 1761047 h 2344739"/>
              <a:gd name="connsiteX229" fmla="*/ 15526 w 12192001"/>
              <a:gd name="connsiteY229" fmla="*/ 1758191 h 2344739"/>
              <a:gd name="connsiteX230" fmla="*/ 2 w 12192001"/>
              <a:gd name="connsiteY230" fmla="*/ 1752722 h 2344739"/>
              <a:gd name="connsiteX231" fmla="*/ 1 w 12192001"/>
              <a:gd name="connsiteY231" fmla="*/ 762497 h 2344739"/>
              <a:gd name="connsiteX232" fmla="*/ 0 w 12192001"/>
              <a:gd name="connsiteY232" fmla="*/ 762497 h 2344739"/>
              <a:gd name="connsiteX233" fmla="*/ 0 w 12192001"/>
              <a:gd name="connsiteY233" fmla="*/ 222213 h 2344739"/>
              <a:gd name="connsiteX234" fmla="*/ 0 w 12192001"/>
              <a:gd name="connsiteY234"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22499 w 12192001"/>
              <a:gd name="connsiteY25" fmla="*/ 999965 h 2344739"/>
              <a:gd name="connsiteX26" fmla="*/ 11245526 w 12192001"/>
              <a:gd name="connsiteY26" fmla="*/ 1274060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51232 w 12192001"/>
              <a:gd name="connsiteY69" fmla="*/ 1923669 h 2344739"/>
              <a:gd name="connsiteX70" fmla="*/ 9150210 w 12192001"/>
              <a:gd name="connsiteY70" fmla="*/ 1922604 h 2344739"/>
              <a:gd name="connsiteX71" fmla="*/ 9137318 w 12192001"/>
              <a:gd name="connsiteY71" fmla="*/ 1920435 h 2344739"/>
              <a:gd name="connsiteX72" fmla="*/ 9113812 w 12192001"/>
              <a:gd name="connsiteY72" fmla="*/ 1919069 h 2344739"/>
              <a:gd name="connsiteX73" fmla="*/ 9053453 w 12192001"/>
              <a:gd name="connsiteY73" fmla="*/ 1910755 h 2344739"/>
              <a:gd name="connsiteX74" fmla="*/ 9005486 w 12192001"/>
              <a:gd name="connsiteY74" fmla="*/ 1914040 h 2344739"/>
              <a:gd name="connsiteX75" fmla="*/ 9005201 w 12192001"/>
              <a:gd name="connsiteY75" fmla="*/ 1913800 h 2344739"/>
              <a:gd name="connsiteX76" fmla="*/ 8996232 w 12192001"/>
              <a:gd name="connsiteY76" fmla="*/ 1915011 h 2344739"/>
              <a:gd name="connsiteX77" fmla="*/ 8990394 w 12192001"/>
              <a:gd name="connsiteY77" fmla="*/ 1917072 h 2344739"/>
              <a:gd name="connsiteX78" fmla="*/ 8974337 w 12192001"/>
              <a:gd name="connsiteY78" fmla="*/ 1920298 h 2344739"/>
              <a:gd name="connsiteX79" fmla="*/ 8968011 w 12192001"/>
              <a:gd name="connsiteY79" fmla="*/ 1919598 h 2344739"/>
              <a:gd name="connsiteX80" fmla="*/ 8963048 w 12192001"/>
              <a:gd name="connsiteY80" fmla="*/ 1917373 h 2344739"/>
              <a:gd name="connsiteX81" fmla="*/ 8928988 w 12192001"/>
              <a:gd name="connsiteY81" fmla="*/ 1914185 h 2344739"/>
              <a:gd name="connsiteX82" fmla="*/ 8752444 w 12192001"/>
              <a:gd name="connsiteY82" fmla="*/ 1933417 h 2344739"/>
              <a:gd name="connsiteX83" fmla="*/ 8707847 w 12192001"/>
              <a:gd name="connsiteY83" fmla="*/ 1935518 h 2344739"/>
              <a:gd name="connsiteX84" fmla="*/ 8596071 w 12192001"/>
              <a:gd name="connsiteY84" fmla="*/ 1944090 h 2344739"/>
              <a:gd name="connsiteX85" fmla="*/ 8525230 w 12192001"/>
              <a:gd name="connsiteY85" fmla="*/ 1929248 h 2344739"/>
              <a:gd name="connsiteX86" fmla="*/ 8510983 w 12192001"/>
              <a:gd name="connsiteY86" fmla="*/ 1935163 h 2344739"/>
              <a:gd name="connsiteX87" fmla="*/ 8506167 w 12192001"/>
              <a:gd name="connsiteY87" fmla="*/ 1938164 h 2344739"/>
              <a:gd name="connsiteX88" fmla="*/ 8497968 w 12192001"/>
              <a:gd name="connsiteY88" fmla="*/ 1940902 h 2344739"/>
              <a:gd name="connsiteX89" fmla="*/ 8497594 w 12192001"/>
              <a:gd name="connsiteY89" fmla="*/ 1940723 h 2344739"/>
              <a:gd name="connsiteX90" fmla="*/ 8490249 w 12192001"/>
              <a:gd name="connsiteY90" fmla="*/ 1943773 h 2344739"/>
              <a:gd name="connsiteX91" fmla="*/ 8367182 w 12192001"/>
              <a:gd name="connsiteY91" fmla="*/ 1957815 h 2344739"/>
              <a:gd name="connsiteX92" fmla="*/ 8353799 w 12192001"/>
              <a:gd name="connsiteY92" fmla="*/ 1958009 h 2344739"/>
              <a:gd name="connsiteX93" fmla="*/ 8352373 w 12192001"/>
              <a:gd name="connsiteY93" fmla="*/ 1957169 h 2344739"/>
              <a:gd name="connsiteX94" fmla="*/ 8320104 w 12192001"/>
              <a:gd name="connsiteY94" fmla="*/ 1974587 h 2344739"/>
              <a:gd name="connsiteX95" fmla="*/ 8314433 w 12192001"/>
              <a:gd name="connsiteY95" fmla="*/ 1974913 h 2344739"/>
              <a:gd name="connsiteX96" fmla="*/ 8295174 w 12192001"/>
              <a:gd name="connsiteY96" fmla="*/ 1988808 h 2344739"/>
              <a:gd name="connsiteX97" fmla="*/ 8284276 w 12192001"/>
              <a:gd name="connsiteY97" fmla="*/ 1994631 h 2344739"/>
              <a:gd name="connsiteX98" fmla="*/ 8283150 w 12192001"/>
              <a:gd name="connsiteY98" fmla="*/ 1999074 h 2344739"/>
              <a:gd name="connsiteX99" fmla="*/ 8266076 w 12192001"/>
              <a:gd name="connsiteY99" fmla="*/ 2006249 h 2344739"/>
              <a:gd name="connsiteX100" fmla="*/ 8263377 w 12192001"/>
              <a:gd name="connsiteY100" fmla="*/ 2006019 h 2344739"/>
              <a:gd name="connsiteX101" fmla="*/ 8252033 w 12192001"/>
              <a:gd name="connsiteY101" fmla="*/ 2015862 h 2344739"/>
              <a:gd name="connsiteX102" fmla="*/ 8245834 w 12192001"/>
              <a:gd name="connsiteY102" fmla="*/ 2028854 h 2344739"/>
              <a:gd name="connsiteX103" fmla="*/ 8090272 w 12192001"/>
              <a:gd name="connsiteY103" fmla="*/ 2075015 h 2344739"/>
              <a:gd name="connsiteX104" fmla="*/ 7905407 w 12192001"/>
              <a:gd name="connsiteY104" fmla="*/ 2116988 h 2344739"/>
              <a:gd name="connsiteX105" fmla="*/ 7718745 w 12192001"/>
              <a:gd name="connsiteY105" fmla="*/ 2142703 h 2344739"/>
              <a:gd name="connsiteX106" fmla="*/ 7614347 w 12192001"/>
              <a:gd name="connsiteY106" fmla="*/ 2139232 h 2344739"/>
              <a:gd name="connsiteX107" fmla="*/ 7527543 w 12192001"/>
              <a:gd name="connsiteY107" fmla="*/ 2145060 h 2344739"/>
              <a:gd name="connsiteX108" fmla="*/ 7519571 w 12192001"/>
              <a:gd name="connsiteY108" fmla="*/ 2147613 h 2344739"/>
              <a:gd name="connsiteX109" fmla="*/ 7507411 w 12192001"/>
              <a:gd name="connsiteY109" fmla="*/ 2148948 h 2344739"/>
              <a:gd name="connsiteX110" fmla="*/ 7507040 w 12192001"/>
              <a:gd name="connsiteY110" fmla="*/ 2148621 h 2344739"/>
              <a:gd name="connsiteX111" fmla="*/ 7495795 w 12192001"/>
              <a:gd name="connsiteY111" fmla="*/ 2150573 h 2344739"/>
              <a:gd name="connsiteX112" fmla="*/ 7405391 w 12192001"/>
              <a:gd name="connsiteY112" fmla="*/ 2142468 h 2344739"/>
              <a:gd name="connsiteX113" fmla="*/ 7312180 w 12192001"/>
              <a:gd name="connsiteY113" fmla="*/ 2132873 h 2344739"/>
              <a:gd name="connsiteX114" fmla="*/ 7310853 w 12192001"/>
              <a:gd name="connsiteY114" fmla="*/ 2131431 h 2344739"/>
              <a:gd name="connsiteX115" fmla="*/ 7218559 w 12192001"/>
              <a:gd name="connsiteY115" fmla="*/ 2156680 h 2344739"/>
              <a:gd name="connsiteX116" fmla="*/ 7201101 w 12192001"/>
              <a:gd name="connsiteY116" fmla="*/ 2161230 h 2344739"/>
              <a:gd name="connsiteX117" fmla="*/ 7197004 w 12192001"/>
              <a:gd name="connsiteY117" fmla="*/ 2166588 h 2344739"/>
              <a:gd name="connsiteX118" fmla="*/ 7170808 w 12192001"/>
              <a:gd name="connsiteY118" fmla="*/ 2171236 h 2344739"/>
              <a:gd name="connsiteX119" fmla="*/ 7096988 w 12192001"/>
              <a:gd name="connsiteY119" fmla="*/ 2183464 h 2344739"/>
              <a:gd name="connsiteX120" fmla="*/ 7018496 w 12192001"/>
              <a:gd name="connsiteY120" fmla="*/ 2183090 h 2344739"/>
              <a:gd name="connsiteX121" fmla="*/ 6904146 w 12192001"/>
              <a:gd name="connsiteY121" fmla="*/ 2212596 h 2344739"/>
              <a:gd name="connsiteX122" fmla="*/ 6708222 w 12192001"/>
              <a:gd name="connsiteY122" fmla="*/ 2240551 h 2344739"/>
              <a:gd name="connsiteX123" fmla="*/ 6549454 w 12192001"/>
              <a:gd name="connsiteY123" fmla="*/ 2269327 h 2344739"/>
              <a:gd name="connsiteX124" fmla="*/ 6317560 w 12192001"/>
              <a:gd name="connsiteY124" fmla="*/ 2316127 h 2344739"/>
              <a:gd name="connsiteX125" fmla="*/ 6168674 w 12192001"/>
              <a:gd name="connsiteY125" fmla="*/ 2318214 h 2344739"/>
              <a:gd name="connsiteX126" fmla="*/ 6073848 w 12192001"/>
              <a:gd name="connsiteY126" fmla="*/ 2338676 h 2344739"/>
              <a:gd name="connsiteX127" fmla="*/ 6068529 w 12192001"/>
              <a:gd name="connsiteY127" fmla="*/ 2337139 h 2344739"/>
              <a:gd name="connsiteX128" fmla="*/ 6048638 w 12192001"/>
              <a:gd name="connsiteY128" fmla="*/ 2337822 h 2344739"/>
              <a:gd name="connsiteX129" fmla="*/ 6041285 w 12192001"/>
              <a:gd name="connsiteY129" fmla="*/ 2329473 h 2344739"/>
              <a:gd name="connsiteX130" fmla="*/ 6010090 w 12192001"/>
              <a:gd name="connsiteY130" fmla="*/ 2324380 h 2344739"/>
              <a:gd name="connsiteX131" fmla="*/ 5957375 w 12192001"/>
              <a:gd name="connsiteY131" fmla="*/ 2328024 h 2344739"/>
              <a:gd name="connsiteX132" fmla="*/ 5758919 w 12192001"/>
              <a:gd name="connsiteY132" fmla="*/ 2343716 h 2344739"/>
              <a:gd name="connsiteX133" fmla="*/ 5626960 w 12192001"/>
              <a:gd name="connsiteY133" fmla="*/ 2344739 h 2344739"/>
              <a:gd name="connsiteX134" fmla="*/ 5470906 w 12192001"/>
              <a:gd name="connsiteY134" fmla="*/ 2330719 h 2344739"/>
              <a:gd name="connsiteX135" fmla="*/ 5432761 w 12192001"/>
              <a:gd name="connsiteY135" fmla="*/ 2319466 h 2344739"/>
              <a:gd name="connsiteX136" fmla="*/ 5381669 w 12192001"/>
              <a:gd name="connsiteY136" fmla="*/ 2301764 h 2344739"/>
              <a:gd name="connsiteX137" fmla="*/ 5261764 w 12192001"/>
              <a:gd name="connsiteY137" fmla="*/ 2281347 h 2344739"/>
              <a:gd name="connsiteX138" fmla="*/ 5222961 w 12192001"/>
              <a:gd name="connsiteY138" fmla="*/ 2270223 h 2344739"/>
              <a:gd name="connsiteX139" fmla="*/ 5174660 w 12192001"/>
              <a:gd name="connsiteY139" fmla="*/ 2267233 h 2344739"/>
              <a:gd name="connsiteX140" fmla="*/ 5156554 w 12192001"/>
              <a:gd name="connsiteY140" fmla="*/ 2260010 h 2344739"/>
              <a:gd name="connsiteX141" fmla="*/ 5142599 w 12192001"/>
              <a:gd name="connsiteY141" fmla="*/ 2256610 h 2344739"/>
              <a:gd name="connsiteX142" fmla="*/ 5139596 w 12192001"/>
              <a:gd name="connsiteY142" fmla="*/ 2254509 h 2344739"/>
              <a:gd name="connsiteX143" fmla="*/ 5121659 w 12192001"/>
              <a:gd name="connsiteY143" fmla="*/ 2243656 h 2344739"/>
              <a:gd name="connsiteX144" fmla="*/ 5065790 w 12192001"/>
              <a:gd name="connsiteY144" fmla="*/ 2250227 h 2344739"/>
              <a:gd name="connsiteX145" fmla="*/ 5011514 w 12192001"/>
              <a:gd name="connsiteY145" fmla="*/ 2233846 h 2344739"/>
              <a:gd name="connsiteX146" fmla="*/ 4840441 w 12192001"/>
              <a:gd name="connsiteY146" fmla="*/ 2209829 h 2344739"/>
              <a:gd name="connsiteX147" fmla="*/ 4762447 w 12192001"/>
              <a:gd name="connsiteY147" fmla="*/ 2182061 h 2344739"/>
              <a:gd name="connsiteX148" fmla="*/ 4723186 w 12192001"/>
              <a:gd name="connsiteY148" fmla="*/ 2173047 h 2344739"/>
              <a:gd name="connsiteX149" fmla="*/ 4721176 w 12192001"/>
              <a:gd name="connsiteY149" fmla="*/ 2172298 h 2344739"/>
              <a:gd name="connsiteX150" fmla="*/ 4722111 w 12192001"/>
              <a:gd name="connsiteY150" fmla="*/ 2172087 h 2344739"/>
              <a:gd name="connsiteX151" fmla="*/ 4717202 w 12192001"/>
              <a:gd name="connsiteY151" fmla="*/ 2170817 h 2344739"/>
              <a:gd name="connsiteX152" fmla="*/ 4721176 w 12192001"/>
              <a:gd name="connsiteY152" fmla="*/ 2172298 h 2344739"/>
              <a:gd name="connsiteX153" fmla="*/ 4715526 w 12192001"/>
              <a:gd name="connsiteY153" fmla="*/ 2173573 h 2344739"/>
              <a:gd name="connsiteX154" fmla="*/ 4515814 w 12192001"/>
              <a:gd name="connsiteY154" fmla="*/ 2163671 h 2344739"/>
              <a:gd name="connsiteX155" fmla="*/ 4428543 w 12192001"/>
              <a:gd name="connsiteY155" fmla="*/ 2153020 h 2344739"/>
              <a:gd name="connsiteX156" fmla="*/ 4362875 w 12192001"/>
              <a:gd name="connsiteY156" fmla="*/ 2151674 h 2344739"/>
              <a:gd name="connsiteX157" fmla="*/ 4316966 w 12192001"/>
              <a:gd name="connsiteY157" fmla="*/ 2158289 h 2344739"/>
              <a:gd name="connsiteX158" fmla="*/ 4315110 w 12192001"/>
              <a:gd name="connsiteY158" fmla="*/ 2156948 h 2344739"/>
              <a:gd name="connsiteX159" fmla="*/ 4295144 w 12192001"/>
              <a:gd name="connsiteY159" fmla="*/ 2155069 h 2344739"/>
              <a:gd name="connsiteX160" fmla="*/ 4290064 w 12192001"/>
              <a:gd name="connsiteY160" fmla="*/ 2157986 h 2344739"/>
              <a:gd name="connsiteX161" fmla="*/ 4276142 w 12192001"/>
              <a:gd name="connsiteY161" fmla="*/ 2157740 h 2344739"/>
              <a:gd name="connsiteX162" fmla="*/ 4248117 w 12192001"/>
              <a:gd name="connsiteY162" fmla="*/ 2160064 h 2344739"/>
              <a:gd name="connsiteX163" fmla="*/ 4202051 w 12192001"/>
              <a:gd name="connsiteY163" fmla="*/ 2157269 h 2344739"/>
              <a:gd name="connsiteX164" fmla="*/ 4201745 w 12192001"/>
              <a:gd name="connsiteY164" fmla="*/ 2156010 h 2344739"/>
              <a:gd name="connsiteX165" fmla="*/ 4191248 w 12192001"/>
              <a:gd name="connsiteY165" fmla="*/ 2150376 h 2344739"/>
              <a:gd name="connsiteX166" fmla="*/ 4142745 w 12192001"/>
              <a:gd name="connsiteY166" fmla="*/ 2134511 h 2344739"/>
              <a:gd name="connsiteX167" fmla="*/ 4083097 w 12192001"/>
              <a:gd name="connsiteY167" fmla="*/ 2107978 h 2344739"/>
              <a:gd name="connsiteX168" fmla="*/ 4074546 w 12192001"/>
              <a:gd name="connsiteY168" fmla="*/ 2107143 h 2344739"/>
              <a:gd name="connsiteX169" fmla="*/ 4074427 w 12192001"/>
              <a:gd name="connsiteY169" fmla="*/ 2106844 h 2344739"/>
              <a:gd name="connsiteX170" fmla="*/ 4065510 w 12192001"/>
              <a:gd name="connsiteY170" fmla="*/ 2105400 h 2344739"/>
              <a:gd name="connsiteX171" fmla="*/ 4058954 w 12192001"/>
              <a:gd name="connsiteY171" fmla="*/ 2105618 h 2344739"/>
              <a:gd name="connsiteX172" fmla="*/ 4042364 w 12192001"/>
              <a:gd name="connsiteY172" fmla="*/ 2103997 h 2344739"/>
              <a:gd name="connsiteX173" fmla="*/ 4036997 w 12192001"/>
              <a:gd name="connsiteY173" fmla="*/ 2101563 h 2344739"/>
              <a:gd name="connsiteX174" fmla="*/ 4035363 w 12192001"/>
              <a:gd name="connsiteY174" fmla="*/ 2097896 h 2344739"/>
              <a:gd name="connsiteX175" fmla="*/ 4033778 w 12192001"/>
              <a:gd name="connsiteY175" fmla="*/ 2098131 h 2344739"/>
              <a:gd name="connsiteX176" fmla="*/ 4004538 w 12192001"/>
              <a:gd name="connsiteY176" fmla="*/ 2085563 h 2344739"/>
              <a:gd name="connsiteX177" fmla="*/ 3936846 w 12192001"/>
              <a:gd name="connsiteY177" fmla="*/ 2068106 h 2344739"/>
              <a:gd name="connsiteX178" fmla="*/ 3897275 w 12192001"/>
              <a:gd name="connsiteY178" fmla="*/ 2062451 h 2344739"/>
              <a:gd name="connsiteX179" fmla="*/ 3789760 w 12192001"/>
              <a:gd name="connsiteY179" fmla="*/ 2042213 h 2344739"/>
              <a:gd name="connsiteX180" fmla="*/ 3682513 w 12192001"/>
              <a:gd name="connsiteY180" fmla="*/ 2018290 h 2344739"/>
              <a:gd name="connsiteX181" fmla="*/ 3610035 w 12192001"/>
              <a:gd name="connsiteY181" fmla="*/ 1986019 h 2344739"/>
              <a:gd name="connsiteX182" fmla="*/ 3603855 w 12192001"/>
              <a:gd name="connsiteY182" fmla="*/ 1987381 h 2344739"/>
              <a:gd name="connsiteX183" fmla="*/ 3594736 w 12192001"/>
              <a:gd name="connsiteY183" fmla="*/ 1987545 h 2344739"/>
              <a:gd name="connsiteX184" fmla="*/ 3594501 w 12192001"/>
              <a:gd name="connsiteY184" fmla="*/ 1987276 h 2344739"/>
              <a:gd name="connsiteX185" fmla="*/ 3585978 w 12192001"/>
              <a:gd name="connsiteY185" fmla="*/ 1987966 h 2344739"/>
              <a:gd name="connsiteX186" fmla="*/ 3536135 w 12192001"/>
              <a:gd name="connsiteY186" fmla="*/ 1978267 h 2344739"/>
              <a:gd name="connsiteX187" fmla="*/ 3473223 w 12192001"/>
              <a:gd name="connsiteY187" fmla="*/ 1974606 h 2344739"/>
              <a:gd name="connsiteX188" fmla="*/ 3400728 w 12192001"/>
              <a:gd name="connsiteY188" fmla="*/ 1962558 h 2344739"/>
              <a:gd name="connsiteX189" fmla="*/ 3363888 w 12192001"/>
              <a:gd name="connsiteY189" fmla="*/ 1979510 h 2344739"/>
              <a:gd name="connsiteX190" fmla="*/ 3344026 w 12192001"/>
              <a:gd name="connsiteY190" fmla="*/ 1981192 h 2344739"/>
              <a:gd name="connsiteX191" fmla="*/ 3341698 w 12192001"/>
              <a:gd name="connsiteY191" fmla="*/ 1980217 h 2344739"/>
              <a:gd name="connsiteX192" fmla="*/ 3262356 w 12192001"/>
              <a:gd name="connsiteY192" fmla="*/ 1986094 h 2344739"/>
              <a:gd name="connsiteX193" fmla="*/ 3142556 w 12192001"/>
              <a:gd name="connsiteY193" fmla="*/ 1993869 h 2344739"/>
              <a:gd name="connsiteX194" fmla="*/ 3030291 w 12192001"/>
              <a:gd name="connsiteY194" fmla="*/ 1996512 h 2344739"/>
              <a:gd name="connsiteX195" fmla="*/ 2781569 w 12192001"/>
              <a:gd name="connsiteY195" fmla="*/ 2018333 h 2344739"/>
              <a:gd name="connsiteX196" fmla="*/ 2646527 w 12192001"/>
              <a:gd name="connsiteY196" fmla="*/ 2028869 h 2344739"/>
              <a:gd name="connsiteX197" fmla="*/ 2568028 w 12192001"/>
              <a:gd name="connsiteY197" fmla="*/ 2002628 h 2344739"/>
              <a:gd name="connsiteX198" fmla="*/ 2443255 w 12192001"/>
              <a:gd name="connsiteY198" fmla="*/ 2016529 h 2344739"/>
              <a:gd name="connsiteX199" fmla="*/ 2315112 w 12192001"/>
              <a:gd name="connsiteY199" fmla="*/ 2024996 h 2344739"/>
              <a:gd name="connsiteX200" fmla="*/ 2208578 w 12192001"/>
              <a:gd name="connsiteY200" fmla="*/ 2019763 h 2344739"/>
              <a:gd name="connsiteX201" fmla="*/ 2094665 w 12192001"/>
              <a:gd name="connsiteY201" fmla="*/ 2003052 h 2344739"/>
              <a:gd name="connsiteX202" fmla="*/ 1997356 w 12192001"/>
              <a:gd name="connsiteY202" fmla="*/ 1995032 h 2344739"/>
              <a:gd name="connsiteX203" fmla="*/ 1928172 w 12192001"/>
              <a:gd name="connsiteY203" fmla="*/ 2016977 h 2344739"/>
              <a:gd name="connsiteX204" fmla="*/ 1921650 w 12192001"/>
              <a:gd name="connsiteY204" fmla="*/ 2012146 h 2344739"/>
              <a:gd name="connsiteX205" fmla="*/ 1873080 w 12192001"/>
              <a:gd name="connsiteY205" fmla="*/ 2013741 h 2344739"/>
              <a:gd name="connsiteX206" fmla="*/ 1786655 w 12192001"/>
              <a:gd name="connsiteY206" fmla="*/ 2041363 h 2344739"/>
              <a:gd name="connsiteX207" fmla="*/ 1738204 w 12192001"/>
              <a:gd name="connsiteY207" fmla="*/ 2036312 h 2344739"/>
              <a:gd name="connsiteX208" fmla="*/ 1675071 w 12192001"/>
              <a:gd name="connsiteY208" fmla="*/ 2019963 h 2344739"/>
              <a:gd name="connsiteX209" fmla="*/ 1608669 w 12192001"/>
              <a:gd name="connsiteY209" fmla="*/ 2013066 h 2344739"/>
              <a:gd name="connsiteX210" fmla="*/ 1496110 w 12192001"/>
              <a:gd name="connsiteY210" fmla="*/ 1987476 h 2344739"/>
              <a:gd name="connsiteX211" fmla="*/ 1149979 w 12192001"/>
              <a:gd name="connsiteY211" fmla="*/ 1938041 h 2344739"/>
              <a:gd name="connsiteX212" fmla="*/ 858269 w 12192001"/>
              <a:gd name="connsiteY212" fmla="*/ 1928608 h 2344739"/>
              <a:gd name="connsiteX213" fmla="*/ 837540 w 12192001"/>
              <a:gd name="connsiteY213" fmla="*/ 1929821 h 2344739"/>
              <a:gd name="connsiteX214" fmla="*/ 816809 w 12192001"/>
              <a:gd name="connsiteY214" fmla="*/ 1927857 h 2344739"/>
              <a:gd name="connsiteX215" fmla="*/ 811506 w 12192001"/>
              <a:gd name="connsiteY215" fmla="*/ 1930751 h 2344739"/>
              <a:gd name="connsiteX216" fmla="*/ 797041 w 12192001"/>
              <a:gd name="connsiteY216" fmla="*/ 1930446 h 2344739"/>
              <a:gd name="connsiteX217" fmla="*/ 767901 w 12192001"/>
              <a:gd name="connsiteY217" fmla="*/ 1932653 h 2344739"/>
              <a:gd name="connsiteX218" fmla="*/ 763053 w 12192001"/>
              <a:gd name="connsiteY218" fmla="*/ 1930432 h 2344739"/>
              <a:gd name="connsiteX219" fmla="*/ 720047 w 12192001"/>
              <a:gd name="connsiteY219" fmla="*/ 1929661 h 2344739"/>
              <a:gd name="connsiteX220" fmla="*/ 719742 w 12192001"/>
              <a:gd name="connsiteY220" fmla="*/ 1928399 h 2344739"/>
              <a:gd name="connsiteX221" fmla="*/ 708875 w 12192001"/>
              <a:gd name="connsiteY221" fmla="*/ 1922722 h 2344739"/>
              <a:gd name="connsiteX222" fmla="*/ 596792 w 12192001"/>
              <a:gd name="connsiteY222" fmla="*/ 1879864 h 2344739"/>
              <a:gd name="connsiteX223" fmla="*/ 578535 w 12192001"/>
              <a:gd name="connsiteY223" fmla="*/ 1877212 h 2344739"/>
              <a:gd name="connsiteX224" fmla="*/ 571717 w 12192001"/>
              <a:gd name="connsiteY224" fmla="*/ 1877401 h 2344739"/>
              <a:gd name="connsiteX225" fmla="*/ 445099 w 12192001"/>
              <a:gd name="connsiteY225" fmla="*/ 1839371 h 2344739"/>
              <a:gd name="connsiteX226" fmla="*/ 404015 w 12192001"/>
              <a:gd name="connsiteY226" fmla="*/ 1833548 h 2344739"/>
              <a:gd name="connsiteX227" fmla="*/ 292435 w 12192001"/>
              <a:gd name="connsiteY227" fmla="*/ 1812852 h 2344739"/>
              <a:gd name="connsiteX228" fmla="*/ 118381 w 12192001"/>
              <a:gd name="connsiteY228" fmla="*/ 1761047 h 2344739"/>
              <a:gd name="connsiteX229" fmla="*/ 15526 w 12192001"/>
              <a:gd name="connsiteY229" fmla="*/ 1758191 h 2344739"/>
              <a:gd name="connsiteX230" fmla="*/ 2 w 12192001"/>
              <a:gd name="connsiteY230" fmla="*/ 1752722 h 2344739"/>
              <a:gd name="connsiteX231" fmla="*/ 1 w 12192001"/>
              <a:gd name="connsiteY231" fmla="*/ 762497 h 2344739"/>
              <a:gd name="connsiteX232" fmla="*/ 0 w 12192001"/>
              <a:gd name="connsiteY232" fmla="*/ 762497 h 2344739"/>
              <a:gd name="connsiteX233" fmla="*/ 0 w 12192001"/>
              <a:gd name="connsiteY233" fmla="*/ 222213 h 2344739"/>
              <a:gd name="connsiteX234" fmla="*/ 0 w 12192001"/>
              <a:gd name="connsiteY234"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22499 w 12192001"/>
              <a:gd name="connsiteY25" fmla="*/ 999965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51232 w 12192001"/>
              <a:gd name="connsiteY69" fmla="*/ 1923669 h 2344739"/>
              <a:gd name="connsiteX70" fmla="*/ 9150210 w 12192001"/>
              <a:gd name="connsiteY70" fmla="*/ 1922604 h 2344739"/>
              <a:gd name="connsiteX71" fmla="*/ 9137318 w 12192001"/>
              <a:gd name="connsiteY71" fmla="*/ 1920435 h 2344739"/>
              <a:gd name="connsiteX72" fmla="*/ 9113812 w 12192001"/>
              <a:gd name="connsiteY72" fmla="*/ 1919069 h 2344739"/>
              <a:gd name="connsiteX73" fmla="*/ 9053453 w 12192001"/>
              <a:gd name="connsiteY73" fmla="*/ 1910755 h 2344739"/>
              <a:gd name="connsiteX74" fmla="*/ 9005486 w 12192001"/>
              <a:gd name="connsiteY74" fmla="*/ 1914040 h 2344739"/>
              <a:gd name="connsiteX75" fmla="*/ 9005201 w 12192001"/>
              <a:gd name="connsiteY75" fmla="*/ 1913800 h 2344739"/>
              <a:gd name="connsiteX76" fmla="*/ 8996232 w 12192001"/>
              <a:gd name="connsiteY76" fmla="*/ 1915011 h 2344739"/>
              <a:gd name="connsiteX77" fmla="*/ 8990394 w 12192001"/>
              <a:gd name="connsiteY77" fmla="*/ 1917072 h 2344739"/>
              <a:gd name="connsiteX78" fmla="*/ 8974337 w 12192001"/>
              <a:gd name="connsiteY78" fmla="*/ 1920298 h 2344739"/>
              <a:gd name="connsiteX79" fmla="*/ 8968011 w 12192001"/>
              <a:gd name="connsiteY79" fmla="*/ 1919598 h 2344739"/>
              <a:gd name="connsiteX80" fmla="*/ 8963048 w 12192001"/>
              <a:gd name="connsiteY80" fmla="*/ 1917373 h 2344739"/>
              <a:gd name="connsiteX81" fmla="*/ 8928988 w 12192001"/>
              <a:gd name="connsiteY81" fmla="*/ 1914185 h 2344739"/>
              <a:gd name="connsiteX82" fmla="*/ 8752444 w 12192001"/>
              <a:gd name="connsiteY82" fmla="*/ 1933417 h 2344739"/>
              <a:gd name="connsiteX83" fmla="*/ 8707847 w 12192001"/>
              <a:gd name="connsiteY83" fmla="*/ 1935518 h 2344739"/>
              <a:gd name="connsiteX84" fmla="*/ 8596071 w 12192001"/>
              <a:gd name="connsiteY84" fmla="*/ 1944090 h 2344739"/>
              <a:gd name="connsiteX85" fmla="*/ 8525230 w 12192001"/>
              <a:gd name="connsiteY85" fmla="*/ 1929248 h 2344739"/>
              <a:gd name="connsiteX86" fmla="*/ 8510983 w 12192001"/>
              <a:gd name="connsiteY86" fmla="*/ 1935163 h 2344739"/>
              <a:gd name="connsiteX87" fmla="*/ 8506167 w 12192001"/>
              <a:gd name="connsiteY87" fmla="*/ 1938164 h 2344739"/>
              <a:gd name="connsiteX88" fmla="*/ 8497968 w 12192001"/>
              <a:gd name="connsiteY88" fmla="*/ 1940902 h 2344739"/>
              <a:gd name="connsiteX89" fmla="*/ 8497594 w 12192001"/>
              <a:gd name="connsiteY89" fmla="*/ 1940723 h 2344739"/>
              <a:gd name="connsiteX90" fmla="*/ 8490249 w 12192001"/>
              <a:gd name="connsiteY90" fmla="*/ 1943773 h 2344739"/>
              <a:gd name="connsiteX91" fmla="*/ 8367182 w 12192001"/>
              <a:gd name="connsiteY91" fmla="*/ 1957815 h 2344739"/>
              <a:gd name="connsiteX92" fmla="*/ 8353799 w 12192001"/>
              <a:gd name="connsiteY92" fmla="*/ 1958009 h 2344739"/>
              <a:gd name="connsiteX93" fmla="*/ 8352373 w 12192001"/>
              <a:gd name="connsiteY93" fmla="*/ 1957169 h 2344739"/>
              <a:gd name="connsiteX94" fmla="*/ 8320104 w 12192001"/>
              <a:gd name="connsiteY94" fmla="*/ 1974587 h 2344739"/>
              <a:gd name="connsiteX95" fmla="*/ 8314433 w 12192001"/>
              <a:gd name="connsiteY95" fmla="*/ 1974913 h 2344739"/>
              <a:gd name="connsiteX96" fmla="*/ 8295174 w 12192001"/>
              <a:gd name="connsiteY96" fmla="*/ 1988808 h 2344739"/>
              <a:gd name="connsiteX97" fmla="*/ 8284276 w 12192001"/>
              <a:gd name="connsiteY97" fmla="*/ 1994631 h 2344739"/>
              <a:gd name="connsiteX98" fmla="*/ 8283150 w 12192001"/>
              <a:gd name="connsiteY98" fmla="*/ 1999074 h 2344739"/>
              <a:gd name="connsiteX99" fmla="*/ 8266076 w 12192001"/>
              <a:gd name="connsiteY99" fmla="*/ 2006249 h 2344739"/>
              <a:gd name="connsiteX100" fmla="*/ 8263377 w 12192001"/>
              <a:gd name="connsiteY100" fmla="*/ 2006019 h 2344739"/>
              <a:gd name="connsiteX101" fmla="*/ 8252033 w 12192001"/>
              <a:gd name="connsiteY101" fmla="*/ 2015862 h 2344739"/>
              <a:gd name="connsiteX102" fmla="*/ 8245834 w 12192001"/>
              <a:gd name="connsiteY102" fmla="*/ 2028854 h 2344739"/>
              <a:gd name="connsiteX103" fmla="*/ 8090272 w 12192001"/>
              <a:gd name="connsiteY103" fmla="*/ 2075015 h 2344739"/>
              <a:gd name="connsiteX104" fmla="*/ 7905407 w 12192001"/>
              <a:gd name="connsiteY104" fmla="*/ 2116988 h 2344739"/>
              <a:gd name="connsiteX105" fmla="*/ 7718745 w 12192001"/>
              <a:gd name="connsiteY105" fmla="*/ 2142703 h 2344739"/>
              <a:gd name="connsiteX106" fmla="*/ 7614347 w 12192001"/>
              <a:gd name="connsiteY106" fmla="*/ 2139232 h 2344739"/>
              <a:gd name="connsiteX107" fmla="*/ 7527543 w 12192001"/>
              <a:gd name="connsiteY107" fmla="*/ 2145060 h 2344739"/>
              <a:gd name="connsiteX108" fmla="*/ 7519571 w 12192001"/>
              <a:gd name="connsiteY108" fmla="*/ 2147613 h 2344739"/>
              <a:gd name="connsiteX109" fmla="*/ 7507411 w 12192001"/>
              <a:gd name="connsiteY109" fmla="*/ 2148948 h 2344739"/>
              <a:gd name="connsiteX110" fmla="*/ 7507040 w 12192001"/>
              <a:gd name="connsiteY110" fmla="*/ 2148621 h 2344739"/>
              <a:gd name="connsiteX111" fmla="*/ 7495795 w 12192001"/>
              <a:gd name="connsiteY111" fmla="*/ 2150573 h 2344739"/>
              <a:gd name="connsiteX112" fmla="*/ 7405391 w 12192001"/>
              <a:gd name="connsiteY112" fmla="*/ 2142468 h 2344739"/>
              <a:gd name="connsiteX113" fmla="*/ 7312180 w 12192001"/>
              <a:gd name="connsiteY113" fmla="*/ 2132873 h 2344739"/>
              <a:gd name="connsiteX114" fmla="*/ 7310853 w 12192001"/>
              <a:gd name="connsiteY114" fmla="*/ 2131431 h 2344739"/>
              <a:gd name="connsiteX115" fmla="*/ 7218559 w 12192001"/>
              <a:gd name="connsiteY115" fmla="*/ 2156680 h 2344739"/>
              <a:gd name="connsiteX116" fmla="*/ 7201101 w 12192001"/>
              <a:gd name="connsiteY116" fmla="*/ 2161230 h 2344739"/>
              <a:gd name="connsiteX117" fmla="*/ 7197004 w 12192001"/>
              <a:gd name="connsiteY117" fmla="*/ 2166588 h 2344739"/>
              <a:gd name="connsiteX118" fmla="*/ 7170808 w 12192001"/>
              <a:gd name="connsiteY118" fmla="*/ 2171236 h 2344739"/>
              <a:gd name="connsiteX119" fmla="*/ 7096988 w 12192001"/>
              <a:gd name="connsiteY119" fmla="*/ 2183464 h 2344739"/>
              <a:gd name="connsiteX120" fmla="*/ 7018496 w 12192001"/>
              <a:gd name="connsiteY120" fmla="*/ 2183090 h 2344739"/>
              <a:gd name="connsiteX121" fmla="*/ 6904146 w 12192001"/>
              <a:gd name="connsiteY121" fmla="*/ 2212596 h 2344739"/>
              <a:gd name="connsiteX122" fmla="*/ 6708222 w 12192001"/>
              <a:gd name="connsiteY122" fmla="*/ 2240551 h 2344739"/>
              <a:gd name="connsiteX123" fmla="*/ 6549454 w 12192001"/>
              <a:gd name="connsiteY123" fmla="*/ 2269327 h 2344739"/>
              <a:gd name="connsiteX124" fmla="*/ 6317560 w 12192001"/>
              <a:gd name="connsiteY124" fmla="*/ 2316127 h 2344739"/>
              <a:gd name="connsiteX125" fmla="*/ 6168674 w 12192001"/>
              <a:gd name="connsiteY125" fmla="*/ 2318214 h 2344739"/>
              <a:gd name="connsiteX126" fmla="*/ 6073848 w 12192001"/>
              <a:gd name="connsiteY126" fmla="*/ 2338676 h 2344739"/>
              <a:gd name="connsiteX127" fmla="*/ 6068529 w 12192001"/>
              <a:gd name="connsiteY127" fmla="*/ 2337139 h 2344739"/>
              <a:gd name="connsiteX128" fmla="*/ 6048638 w 12192001"/>
              <a:gd name="connsiteY128" fmla="*/ 2337822 h 2344739"/>
              <a:gd name="connsiteX129" fmla="*/ 6041285 w 12192001"/>
              <a:gd name="connsiteY129" fmla="*/ 2329473 h 2344739"/>
              <a:gd name="connsiteX130" fmla="*/ 6010090 w 12192001"/>
              <a:gd name="connsiteY130" fmla="*/ 2324380 h 2344739"/>
              <a:gd name="connsiteX131" fmla="*/ 5957375 w 12192001"/>
              <a:gd name="connsiteY131" fmla="*/ 2328024 h 2344739"/>
              <a:gd name="connsiteX132" fmla="*/ 5758919 w 12192001"/>
              <a:gd name="connsiteY132" fmla="*/ 2343716 h 2344739"/>
              <a:gd name="connsiteX133" fmla="*/ 5626960 w 12192001"/>
              <a:gd name="connsiteY133" fmla="*/ 2344739 h 2344739"/>
              <a:gd name="connsiteX134" fmla="*/ 5470906 w 12192001"/>
              <a:gd name="connsiteY134" fmla="*/ 2330719 h 2344739"/>
              <a:gd name="connsiteX135" fmla="*/ 5432761 w 12192001"/>
              <a:gd name="connsiteY135" fmla="*/ 2319466 h 2344739"/>
              <a:gd name="connsiteX136" fmla="*/ 5381669 w 12192001"/>
              <a:gd name="connsiteY136" fmla="*/ 2301764 h 2344739"/>
              <a:gd name="connsiteX137" fmla="*/ 5261764 w 12192001"/>
              <a:gd name="connsiteY137" fmla="*/ 2281347 h 2344739"/>
              <a:gd name="connsiteX138" fmla="*/ 5222961 w 12192001"/>
              <a:gd name="connsiteY138" fmla="*/ 2270223 h 2344739"/>
              <a:gd name="connsiteX139" fmla="*/ 5174660 w 12192001"/>
              <a:gd name="connsiteY139" fmla="*/ 2267233 h 2344739"/>
              <a:gd name="connsiteX140" fmla="*/ 5156554 w 12192001"/>
              <a:gd name="connsiteY140" fmla="*/ 2260010 h 2344739"/>
              <a:gd name="connsiteX141" fmla="*/ 5142599 w 12192001"/>
              <a:gd name="connsiteY141" fmla="*/ 2256610 h 2344739"/>
              <a:gd name="connsiteX142" fmla="*/ 5139596 w 12192001"/>
              <a:gd name="connsiteY142" fmla="*/ 2254509 h 2344739"/>
              <a:gd name="connsiteX143" fmla="*/ 5121659 w 12192001"/>
              <a:gd name="connsiteY143" fmla="*/ 2243656 h 2344739"/>
              <a:gd name="connsiteX144" fmla="*/ 5065790 w 12192001"/>
              <a:gd name="connsiteY144" fmla="*/ 2250227 h 2344739"/>
              <a:gd name="connsiteX145" fmla="*/ 5011514 w 12192001"/>
              <a:gd name="connsiteY145" fmla="*/ 2233846 h 2344739"/>
              <a:gd name="connsiteX146" fmla="*/ 4840441 w 12192001"/>
              <a:gd name="connsiteY146" fmla="*/ 2209829 h 2344739"/>
              <a:gd name="connsiteX147" fmla="*/ 4762447 w 12192001"/>
              <a:gd name="connsiteY147" fmla="*/ 2182061 h 2344739"/>
              <a:gd name="connsiteX148" fmla="*/ 4723186 w 12192001"/>
              <a:gd name="connsiteY148" fmla="*/ 2173047 h 2344739"/>
              <a:gd name="connsiteX149" fmla="*/ 4721176 w 12192001"/>
              <a:gd name="connsiteY149" fmla="*/ 2172298 h 2344739"/>
              <a:gd name="connsiteX150" fmla="*/ 4722111 w 12192001"/>
              <a:gd name="connsiteY150" fmla="*/ 2172087 h 2344739"/>
              <a:gd name="connsiteX151" fmla="*/ 4717202 w 12192001"/>
              <a:gd name="connsiteY151" fmla="*/ 2170817 h 2344739"/>
              <a:gd name="connsiteX152" fmla="*/ 4721176 w 12192001"/>
              <a:gd name="connsiteY152" fmla="*/ 2172298 h 2344739"/>
              <a:gd name="connsiteX153" fmla="*/ 4715526 w 12192001"/>
              <a:gd name="connsiteY153" fmla="*/ 2173573 h 2344739"/>
              <a:gd name="connsiteX154" fmla="*/ 4515814 w 12192001"/>
              <a:gd name="connsiteY154" fmla="*/ 2163671 h 2344739"/>
              <a:gd name="connsiteX155" fmla="*/ 4428543 w 12192001"/>
              <a:gd name="connsiteY155" fmla="*/ 2153020 h 2344739"/>
              <a:gd name="connsiteX156" fmla="*/ 4362875 w 12192001"/>
              <a:gd name="connsiteY156" fmla="*/ 2151674 h 2344739"/>
              <a:gd name="connsiteX157" fmla="*/ 4316966 w 12192001"/>
              <a:gd name="connsiteY157" fmla="*/ 2158289 h 2344739"/>
              <a:gd name="connsiteX158" fmla="*/ 4315110 w 12192001"/>
              <a:gd name="connsiteY158" fmla="*/ 2156948 h 2344739"/>
              <a:gd name="connsiteX159" fmla="*/ 4295144 w 12192001"/>
              <a:gd name="connsiteY159" fmla="*/ 2155069 h 2344739"/>
              <a:gd name="connsiteX160" fmla="*/ 4290064 w 12192001"/>
              <a:gd name="connsiteY160" fmla="*/ 2157986 h 2344739"/>
              <a:gd name="connsiteX161" fmla="*/ 4276142 w 12192001"/>
              <a:gd name="connsiteY161" fmla="*/ 2157740 h 2344739"/>
              <a:gd name="connsiteX162" fmla="*/ 4248117 w 12192001"/>
              <a:gd name="connsiteY162" fmla="*/ 2160064 h 2344739"/>
              <a:gd name="connsiteX163" fmla="*/ 4202051 w 12192001"/>
              <a:gd name="connsiteY163" fmla="*/ 2157269 h 2344739"/>
              <a:gd name="connsiteX164" fmla="*/ 4201745 w 12192001"/>
              <a:gd name="connsiteY164" fmla="*/ 2156010 h 2344739"/>
              <a:gd name="connsiteX165" fmla="*/ 4191248 w 12192001"/>
              <a:gd name="connsiteY165" fmla="*/ 2150376 h 2344739"/>
              <a:gd name="connsiteX166" fmla="*/ 4142745 w 12192001"/>
              <a:gd name="connsiteY166" fmla="*/ 2134511 h 2344739"/>
              <a:gd name="connsiteX167" fmla="*/ 4083097 w 12192001"/>
              <a:gd name="connsiteY167" fmla="*/ 2107978 h 2344739"/>
              <a:gd name="connsiteX168" fmla="*/ 4074546 w 12192001"/>
              <a:gd name="connsiteY168" fmla="*/ 2107143 h 2344739"/>
              <a:gd name="connsiteX169" fmla="*/ 4074427 w 12192001"/>
              <a:gd name="connsiteY169" fmla="*/ 2106844 h 2344739"/>
              <a:gd name="connsiteX170" fmla="*/ 4065510 w 12192001"/>
              <a:gd name="connsiteY170" fmla="*/ 2105400 h 2344739"/>
              <a:gd name="connsiteX171" fmla="*/ 4058954 w 12192001"/>
              <a:gd name="connsiteY171" fmla="*/ 2105618 h 2344739"/>
              <a:gd name="connsiteX172" fmla="*/ 4042364 w 12192001"/>
              <a:gd name="connsiteY172" fmla="*/ 2103997 h 2344739"/>
              <a:gd name="connsiteX173" fmla="*/ 4036997 w 12192001"/>
              <a:gd name="connsiteY173" fmla="*/ 2101563 h 2344739"/>
              <a:gd name="connsiteX174" fmla="*/ 4035363 w 12192001"/>
              <a:gd name="connsiteY174" fmla="*/ 2097896 h 2344739"/>
              <a:gd name="connsiteX175" fmla="*/ 4033778 w 12192001"/>
              <a:gd name="connsiteY175" fmla="*/ 2098131 h 2344739"/>
              <a:gd name="connsiteX176" fmla="*/ 4004538 w 12192001"/>
              <a:gd name="connsiteY176" fmla="*/ 2085563 h 2344739"/>
              <a:gd name="connsiteX177" fmla="*/ 3936846 w 12192001"/>
              <a:gd name="connsiteY177" fmla="*/ 2068106 h 2344739"/>
              <a:gd name="connsiteX178" fmla="*/ 3897275 w 12192001"/>
              <a:gd name="connsiteY178" fmla="*/ 2062451 h 2344739"/>
              <a:gd name="connsiteX179" fmla="*/ 3789760 w 12192001"/>
              <a:gd name="connsiteY179" fmla="*/ 2042213 h 2344739"/>
              <a:gd name="connsiteX180" fmla="*/ 3682513 w 12192001"/>
              <a:gd name="connsiteY180" fmla="*/ 2018290 h 2344739"/>
              <a:gd name="connsiteX181" fmla="*/ 3610035 w 12192001"/>
              <a:gd name="connsiteY181" fmla="*/ 1986019 h 2344739"/>
              <a:gd name="connsiteX182" fmla="*/ 3603855 w 12192001"/>
              <a:gd name="connsiteY182" fmla="*/ 1987381 h 2344739"/>
              <a:gd name="connsiteX183" fmla="*/ 3594736 w 12192001"/>
              <a:gd name="connsiteY183" fmla="*/ 1987545 h 2344739"/>
              <a:gd name="connsiteX184" fmla="*/ 3594501 w 12192001"/>
              <a:gd name="connsiteY184" fmla="*/ 1987276 h 2344739"/>
              <a:gd name="connsiteX185" fmla="*/ 3585978 w 12192001"/>
              <a:gd name="connsiteY185" fmla="*/ 1987966 h 2344739"/>
              <a:gd name="connsiteX186" fmla="*/ 3536135 w 12192001"/>
              <a:gd name="connsiteY186" fmla="*/ 1978267 h 2344739"/>
              <a:gd name="connsiteX187" fmla="*/ 3473223 w 12192001"/>
              <a:gd name="connsiteY187" fmla="*/ 1974606 h 2344739"/>
              <a:gd name="connsiteX188" fmla="*/ 3400728 w 12192001"/>
              <a:gd name="connsiteY188" fmla="*/ 1962558 h 2344739"/>
              <a:gd name="connsiteX189" fmla="*/ 3363888 w 12192001"/>
              <a:gd name="connsiteY189" fmla="*/ 1979510 h 2344739"/>
              <a:gd name="connsiteX190" fmla="*/ 3344026 w 12192001"/>
              <a:gd name="connsiteY190" fmla="*/ 1981192 h 2344739"/>
              <a:gd name="connsiteX191" fmla="*/ 3341698 w 12192001"/>
              <a:gd name="connsiteY191" fmla="*/ 1980217 h 2344739"/>
              <a:gd name="connsiteX192" fmla="*/ 3262356 w 12192001"/>
              <a:gd name="connsiteY192" fmla="*/ 1986094 h 2344739"/>
              <a:gd name="connsiteX193" fmla="*/ 3142556 w 12192001"/>
              <a:gd name="connsiteY193" fmla="*/ 1993869 h 2344739"/>
              <a:gd name="connsiteX194" fmla="*/ 3030291 w 12192001"/>
              <a:gd name="connsiteY194" fmla="*/ 1996512 h 2344739"/>
              <a:gd name="connsiteX195" fmla="*/ 2781569 w 12192001"/>
              <a:gd name="connsiteY195" fmla="*/ 2018333 h 2344739"/>
              <a:gd name="connsiteX196" fmla="*/ 2646527 w 12192001"/>
              <a:gd name="connsiteY196" fmla="*/ 2028869 h 2344739"/>
              <a:gd name="connsiteX197" fmla="*/ 2568028 w 12192001"/>
              <a:gd name="connsiteY197" fmla="*/ 2002628 h 2344739"/>
              <a:gd name="connsiteX198" fmla="*/ 2443255 w 12192001"/>
              <a:gd name="connsiteY198" fmla="*/ 2016529 h 2344739"/>
              <a:gd name="connsiteX199" fmla="*/ 2315112 w 12192001"/>
              <a:gd name="connsiteY199" fmla="*/ 2024996 h 2344739"/>
              <a:gd name="connsiteX200" fmla="*/ 2208578 w 12192001"/>
              <a:gd name="connsiteY200" fmla="*/ 2019763 h 2344739"/>
              <a:gd name="connsiteX201" fmla="*/ 2094665 w 12192001"/>
              <a:gd name="connsiteY201" fmla="*/ 2003052 h 2344739"/>
              <a:gd name="connsiteX202" fmla="*/ 1997356 w 12192001"/>
              <a:gd name="connsiteY202" fmla="*/ 1995032 h 2344739"/>
              <a:gd name="connsiteX203" fmla="*/ 1928172 w 12192001"/>
              <a:gd name="connsiteY203" fmla="*/ 2016977 h 2344739"/>
              <a:gd name="connsiteX204" fmla="*/ 1921650 w 12192001"/>
              <a:gd name="connsiteY204" fmla="*/ 2012146 h 2344739"/>
              <a:gd name="connsiteX205" fmla="*/ 1873080 w 12192001"/>
              <a:gd name="connsiteY205" fmla="*/ 2013741 h 2344739"/>
              <a:gd name="connsiteX206" fmla="*/ 1786655 w 12192001"/>
              <a:gd name="connsiteY206" fmla="*/ 2041363 h 2344739"/>
              <a:gd name="connsiteX207" fmla="*/ 1738204 w 12192001"/>
              <a:gd name="connsiteY207" fmla="*/ 2036312 h 2344739"/>
              <a:gd name="connsiteX208" fmla="*/ 1675071 w 12192001"/>
              <a:gd name="connsiteY208" fmla="*/ 2019963 h 2344739"/>
              <a:gd name="connsiteX209" fmla="*/ 1608669 w 12192001"/>
              <a:gd name="connsiteY209" fmla="*/ 2013066 h 2344739"/>
              <a:gd name="connsiteX210" fmla="*/ 1496110 w 12192001"/>
              <a:gd name="connsiteY210" fmla="*/ 1987476 h 2344739"/>
              <a:gd name="connsiteX211" fmla="*/ 1149979 w 12192001"/>
              <a:gd name="connsiteY211" fmla="*/ 1938041 h 2344739"/>
              <a:gd name="connsiteX212" fmla="*/ 858269 w 12192001"/>
              <a:gd name="connsiteY212" fmla="*/ 1928608 h 2344739"/>
              <a:gd name="connsiteX213" fmla="*/ 837540 w 12192001"/>
              <a:gd name="connsiteY213" fmla="*/ 1929821 h 2344739"/>
              <a:gd name="connsiteX214" fmla="*/ 816809 w 12192001"/>
              <a:gd name="connsiteY214" fmla="*/ 1927857 h 2344739"/>
              <a:gd name="connsiteX215" fmla="*/ 811506 w 12192001"/>
              <a:gd name="connsiteY215" fmla="*/ 1930751 h 2344739"/>
              <a:gd name="connsiteX216" fmla="*/ 797041 w 12192001"/>
              <a:gd name="connsiteY216" fmla="*/ 1930446 h 2344739"/>
              <a:gd name="connsiteX217" fmla="*/ 767901 w 12192001"/>
              <a:gd name="connsiteY217" fmla="*/ 1932653 h 2344739"/>
              <a:gd name="connsiteX218" fmla="*/ 763053 w 12192001"/>
              <a:gd name="connsiteY218" fmla="*/ 1930432 h 2344739"/>
              <a:gd name="connsiteX219" fmla="*/ 720047 w 12192001"/>
              <a:gd name="connsiteY219" fmla="*/ 1929661 h 2344739"/>
              <a:gd name="connsiteX220" fmla="*/ 719742 w 12192001"/>
              <a:gd name="connsiteY220" fmla="*/ 1928399 h 2344739"/>
              <a:gd name="connsiteX221" fmla="*/ 708875 w 12192001"/>
              <a:gd name="connsiteY221" fmla="*/ 1922722 h 2344739"/>
              <a:gd name="connsiteX222" fmla="*/ 596792 w 12192001"/>
              <a:gd name="connsiteY222" fmla="*/ 1879864 h 2344739"/>
              <a:gd name="connsiteX223" fmla="*/ 578535 w 12192001"/>
              <a:gd name="connsiteY223" fmla="*/ 1877212 h 2344739"/>
              <a:gd name="connsiteX224" fmla="*/ 571717 w 12192001"/>
              <a:gd name="connsiteY224" fmla="*/ 1877401 h 2344739"/>
              <a:gd name="connsiteX225" fmla="*/ 445099 w 12192001"/>
              <a:gd name="connsiteY225" fmla="*/ 1839371 h 2344739"/>
              <a:gd name="connsiteX226" fmla="*/ 404015 w 12192001"/>
              <a:gd name="connsiteY226" fmla="*/ 1833548 h 2344739"/>
              <a:gd name="connsiteX227" fmla="*/ 292435 w 12192001"/>
              <a:gd name="connsiteY227" fmla="*/ 1812852 h 2344739"/>
              <a:gd name="connsiteX228" fmla="*/ 118381 w 12192001"/>
              <a:gd name="connsiteY228" fmla="*/ 1761047 h 2344739"/>
              <a:gd name="connsiteX229" fmla="*/ 15526 w 12192001"/>
              <a:gd name="connsiteY229" fmla="*/ 1758191 h 2344739"/>
              <a:gd name="connsiteX230" fmla="*/ 2 w 12192001"/>
              <a:gd name="connsiteY230" fmla="*/ 1752722 h 2344739"/>
              <a:gd name="connsiteX231" fmla="*/ 1 w 12192001"/>
              <a:gd name="connsiteY231" fmla="*/ 762497 h 2344739"/>
              <a:gd name="connsiteX232" fmla="*/ 0 w 12192001"/>
              <a:gd name="connsiteY232" fmla="*/ 762497 h 2344739"/>
              <a:gd name="connsiteX233" fmla="*/ 0 w 12192001"/>
              <a:gd name="connsiteY233" fmla="*/ 222213 h 2344739"/>
              <a:gd name="connsiteX234" fmla="*/ 0 w 12192001"/>
              <a:gd name="connsiteY234"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22499 w 12192001"/>
              <a:gd name="connsiteY25" fmla="*/ 999965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51232 w 12192001"/>
              <a:gd name="connsiteY69" fmla="*/ 1923669 h 2344739"/>
              <a:gd name="connsiteX70" fmla="*/ 9137318 w 12192001"/>
              <a:gd name="connsiteY70" fmla="*/ 1920435 h 2344739"/>
              <a:gd name="connsiteX71" fmla="*/ 9113812 w 12192001"/>
              <a:gd name="connsiteY71" fmla="*/ 1919069 h 2344739"/>
              <a:gd name="connsiteX72" fmla="*/ 9053453 w 12192001"/>
              <a:gd name="connsiteY72" fmla="*/ 1910755 h 2344739"/>
              <a:gd name="connsiteX73" fmla="*/ 9005486 w 12192001"/>
              <a:gd name="connsiteY73" fmla="*/ 1914040 h 2344739"/>
              <a:gd name="connsiteX74" fmla="*/ 9005201 w 12192001"/>
              <a:gd name="connsiteY74" fmla="*/ 1913800 h 2344739"/>
              <a:gd name="connsiteX75" fmla="*/ 8996232 w 12192001"/>
              <a:gd name="connsiteY75" fmla="*/ 1915011 h 2344739"/>
              <a:gd name="connsiteX76" fmla="*/ 8990394 w 12192001"/>
              <a:gd name="connsiteY76" fmla="*/ 1917072 h 2344739"/>
              <a:gd name="connsiteX77" fmla="*/ 8974337 w 12192001"/>
              <a:gd name="connsiteY77" fmla="*/ 1920298 h 2344739"/>
              <a:gd name="connsiteX78" fmla="*/ 8968011 w 12192001"/>
              <a:gd name="connsiteY78" fmla="*/ 1919598 h 2344739"/>
              <a:gd name="connsiteX79" fmla="*/ 8963048 w 12192001"/>
              <a:gd name="connsiteY79" fmla="*/ 1917373 h 2344739"/>
              <a:gd name="connsiteX80" fmla="*/ 8928988 w 12192001"/>
              <a:gd name="connsiteY80" fmla="*/ 1914185 h 2344739"/>
              <a:gd name="connsiteX81" fmla="*/ 8752444 w 12192001"/>
              <a:gd name="connsiteY81" fmla="*/ 1933417 h 2344739"/>
              <a:gd name="connsiteX82" fmla="*/ 8707847 w 12192001"/>
              <a:gd name="connsiteY82" fmla="*/ 1935518 h 2344739"/>
              <a:gd name="connsiteX83" fmla="*/ 8596071 w 12192001"/>
              <a:gd name="connsiteY83" fmla="*/ 1944090 h 2344739"/>
              <a:gd name="connsiteX84" fmla="*/ 8525230 w 12192001"/>
              <a:gd name="connsiteY84" fmla="*/ 1929248 h 2344739"/>
              <a:gd name="connsiteX85" fmla="*/ 8510983 w 12192001"/>
              <a:gd name="connsiteY85" fmla="*/ 1935163 h 2344739"/>
              <a:gd name="connsiteX86" fmla="*/ 8506167 w 12192001"/>
              <a:gd name="connsiteY86" fmla="*/ 1938164 h 2344739"/>
              <a:gd name="connsiteX87" fmla="*/ 8497968 w 12192001"/>
              <a:gd name="connsiteY87" fmla="*/ 1940902 h 2344739"/>
              <a:gd name="connsiteX88" fmla="*/ 8497594 w 12192001"/>
              <a:gd name="connsiteY88" fmla="*/ 1940723 h 2344739"/>
              <a:gd name="connsiteX89" fmla="*/ 8490249 w 12192001"/>
              <a:gd name="connsiteY89" fmla="*/ 1943773 h 2344739"/>
              <a:gd name="connsiteX90" fmla="*/ 8367182 w 12192001"/>
              <a:gd name="connsiteY90" fmla="*/ 1957815 h 2344739"/>
              <a:gd name="connsiteX91" fmla="*/ 8353799 w 12192001"/>
              <a:gd name="connsiteY91" fmla="*/ 1958009 h 2344739"/>
              <a:gd name="connsiteX92" fmla="*/ 8352373 w 12192001"/>
              <a:gd name="connsiteY92" fmla="*/ 1957169 h 2344739"/>
              <a:gd name="connsiteX93" fmla="*/ 8320104 w 12192001"/>
              <a:gd name="connsiteY93" fmla="*/ 1974587 h 2344739"/>
              <a:gd name="connsiteX94" fmla="*/ 8314433 w 12192001"/>
              <a:gd name="connsiteY94" fmla="*/ 1974913 h 2344739"/>
              <a:gd name="connsiteX95" fmla="*/ 8295174 w 12192001"/>
              <a:gd name="connsiteY95" fmla="*/ 1988808 h 2344739"/>
              <a:gd name="connsiteX96" fmla="*/ 8284276 w 12192001"/>
              <a:gd name="connsiteY96" fmla="*/ 1994631 h 2344739"/>
              <a:gd name="connsiteX97" fmla="*/ 8283150 w 12192001"/>
              <a:gd name="connsiteY97" fmla="*/ 1999074 h 2344739"/>
              <a:gd name="connsiteX98" fmla="*/ 8266076 w 12192001"/>
              <a:gd name="connsiteY98" fmla="*/ 2006249 h 2344739"/>
              <a:gd name="connsiteX99" fmla="*/ 8263377 w 12192001"/>
              <a:gd name="connsiteY99" fmla="*/ 2006019 h 2344739"/>
              <a:gd name="connsiteX100" fmla="*/ 8252033 w 12192001"/>
              <a:gd name="connsiteY100" fmla="*/ 2015862 h 2344739"/>
              <a:gd name="connsiteX101" fmla="*/ 8245834 w 12192001"/>
              <a:gd name="connsiteY101" fmla="*/ 2028854 h 2344739"/>
              <a:gd name="connsiteX102" fmla="*/ 8090272 w 12192001"/>
              <a:gd name="connsiteY102" fmla="*/ 2075015 h 2344739"/>
              <a:gd name="connsiteX103" fmla="*/ 7905407 w 12192001"/>
              <a:gd name="connsiteY103" fmla="*/ 2116988 h 2344739"/>
              <a:gd name="connsiteX104" fmla="*/ 7718745 w 12192001"/>
              <a:gd name="connsiteY104" fmla="*/ 2142703 h 2344739"/>
              <a:gd name="connsiteX105" fmla="*/ 7614347 w 12192001"/>
              <a:gd name="connsiteY105" fmla="*/ 2139232 h 2344739"/>
              <a:gd name="connsiteX106" fmla="*/ 7527543 w 12192001"/>
              <a:gd name="connsiteY106" fmla="*/ 2145060 h 2344739"/>
              <a:gd name="connsiteX107" fmla="*/ 7519571 w 12192001"/>
              <a:gd name="connsiteY107" fmla="*/ 2147613 h 2344739"/>
              <a:gd name="connsiteX108" fmla="*/ 7507411 w 12192001"/>
              <a:gd name="connsiteY108" fmla="*/ 2148948 h 2344739"/>
              <a:gd name="connsiteX109" fmla="*/ 7507040 w 12192001"/>
              <a:gd name="connsiteY109" fmla="*/ 2148621 h 2344739"/>
              <a:gd name="connsiteX110" fmla="*/ 7495795 w 12192001"/>
              <a:gd name="connsiteY110" fmla="*/ 2150573 h 2344739"/>
              <a:gd name="connsiteX111" fmla="*/ 7405391 w 12192001"/>
              <a:gd name="connsiteY111" fmla="*/ 2142468 h 2344739"/>
              <a:gd name="connsiteX112" fmla="*/ 7312180 w 12192001"/>
              <a:gd name="connsiteY112" fmla="*/ 2132873 h 2344739"/>
              <a:gd name="connsiteX113" fmla="*/ 7310853 w 12192001"/>
              <a:gd name="connsiteY113" fmla="*/ 2131431 h 2344739"/>
              <a:gd name="connsiteX114" fmla="*/ 7218559 w 12192001"/>
              <a:gd name="connsiteY114" fmla="*/ 2156680 h 2344739"/>
              <a:gd name="connsiteX115" fmla="*/ 7201101 w 12192001"/>
              <a:gd name="connsiteY115" fmla="*/ 2161230 h 2344739"/>
              <a:gd name="connsiteX116" fmla="*/ 7197004 w 12192001"/>
              <a:gd name="connsiteY116" fmla="*/ 2166588 h 2344739"/>
              <a:gd name="connsiteX117" fmla="*/ 7170808 w 12192001"/>
              <a:gd name="connsiteY117" fmla="*/ 2171236 h 2344739"/>
              <a:gd name="connsiteX118" fmla="*/ 7096988 w 12192001"/>
              <a:gd name="connsiteY118" fmla="*/ 2183464 h 2344739"/>
              <a:gd name="connsiteX119" fmla="*/ 7018496 w 12192001"/>
              <a:gd name="connsiteY119" fmla="*/ 2183090 h 2344739"/>
              <a:gd name="connsiteX120" fmla="*/ 6904146 w 12192001"/>
              <a:gd name="connsiteY120" fmla="*/ 2212596 h 2344739"/>
              <a:gd name="connsiteX121" fmla="*/ 6708222 w 12192001"/>
              <a:gd name="connsiteY121" fmla="*/ 2240551 h 2344739"/>
              <a:gd name="connsiteX122" fmla="*/ 6549454 w 12192001"/>
              <a:gd name="connsiteY122" fmla="*/ 2269327 h 2344739"/>
              <a:gd name="connsiteX123" fmla="*/ 6317560 w 12192001"/>
              <a:gd name="connsiteY123" fmla="*/ 2316127 h 2344739"/>
              <a:gd name="connsiteX124" fmla="*/ 6168674 w 12192001"/>
              <a:gd name="connsiteY124" fmla="*/ 2318214 h 2344739"/>
              <a:gd name="connsiteX125" fmla="*/ 6073848 w 12192001"/>
              <a:gd name="connsiteY125" fmla="*/ 2338676 h 2344739"/>
              <a:gd name="connsiteX126" fmla="*/ 6068529 w 12192001"/>
              <a:gd name="connsiteY126" fmla="*/ 2337139 h 2344739"/>
              <a:gd name="connsiteX127" fmla="*/ 6048638 w 12192001"/>
              <a:gd name="connsiteY127" fmla="*/ 2337822 h 2344739"/>
              <a:gd name="connsiteX128" fmla="*/ 6041285 w 12192001"/>
              <a:gd name="connsiteY128" fmla="*/ 2329473 h 2344739"/>
              <a:gd name="connsiteX129" fmla="*/ 6010090 w 12192001"/>
              <a:gd name="connsiteY129" fmla="*/ 2324380 h 2344739"/>
              <a:gd name="connsiteX130" fmla="*/ 5957375 w 12192001"/>
              <a:gd name="connsiteY130" fmla="*/ 2328024 h 2344739"/>
              <a:gd name="connsiteX131" fmla="*/ 5758919 w 12192001"/>
              <a:gd name="connsiteY131" fmla="*/ 2343716 h 2344739"/>
              <a:gd name="connsiteX132" fmla="*/ 5626960 w 12192001"/>
              <a:gd name="connsiteY132" fmla="*/ 2344739 h 2344739"/>
              <a:gd name="connsiteX133" fmla="*/ 5470906 w 12192001"/>
              <a:gd name="connsiteY133" fmla="*/ 2330719 h 2344739"/>
              <a:gd name="connsiteX134" fmla="*/ 5432761 w 12192001"/>
              <a:gd name="connsiteY134" fmla="*/ 2319466 h 2344739"/>
              <a:gd name="connsiteX135" fmla="*/ 5381669 w 12192001"/>
              <a:gd name="connsiteY135" fmla="*/ 2301764 h 2344739"/>
              <a:gd name="connsiteX136" fmla="*/ 5261764 w 12192001"/>
              <a:gd name="connsiteY136" fmla="*/ 2281347 h 2344739"/>
              <a:gd name="connsiteX137" fmla="*/ 5222961 w 12192001"/>
              <a:gd name="connsiteY137" fmla="*/ 2270223 h 2344739"/>
              <a:gd name="connsiteX138" fmla="*/ 5174660 w 12192001"/>
              <a:gd name="connsiteY138" fmla="*/ 2267233 h 2344739"/>
              <a:gd name="connsiteX139" fmla="*/ 5156554 w 12192001"/>
              <a:gd name="connsiteY139" fmla="*/ 2260010 h 2344739"/>
              <a:gd name="connsiteX140" fmla="*/ 5142599 w 12192001"/>
              <a:gd name="connsiteY140" fmla="*/ 2256610 h 2344739"/>
              <a:gd name="connsiteX141" fmla="*/ 5139596 w 12192001"/>
              <a:gd name="connsiteY141" fmla="*/ 2254509 h 2344739"/>
              <a:gd name="connsiteX142" fmla="*/ 5121659 w 12192001"/>
              <a:gd name="connsiteY142" fmla="*/ 2243656 h 2344739"/>
              <a:gd name="connsiteX143" fmla="*/ 5065790 w 12192001"/>
              <a:gd name="connsiteY143" fmla="*/ 2250227 h 2344739"/>
              <a:gd name="connsiteX144" fmla="*/ 5011514 w 12192001"/>
              <a:gd name="connsiteY144" fmla="*/ 2233846 h 2344739"/>
              <a:gd name="connsiteX145" fmla="*/ 4840441 w 12192001"/>
              <a:gd name="connsiteY145" fmla="*/ 2209829 h 2344739"/>
              <a:gd name="connsiteX146" fmla="*/ 4762447 w 12192001"/>
              <a:gd name="connsiteY146" fmla="*/ 2182061 h 2344739"/>
              <a:gd name="connsiteX147" fmla="*/ 4723186 w 12192001"/>
              <a:gd name="connsiteY147" fmla="*/ 2173047 h 2344739"/>
              <a:gd name="connsiteX148" fmla="*/ 4721176 w 12192001"/>
              <a:gd name="connsiteY148" fmla="*/ 2172298 h 2344739"/>
              <a:gd name="connsiteX149" fmla="*/ 4722111 w 12192001"/>
              <a:gd name="connsiteY149" fmla="*/ 2172087 h 2344739"/>
              <a:gd name="connsiteX150" fmla="*/ 4717202 w 12192001"/>
              <a:gd name="connsiteY150" fmla="*/ 2170817 h 2344739"/>
              <a:gd name="connsiteX151" fmla="*/ 4721176 w 12192001"/>
              <a:gd name="connsiteY151" fmla="*/ 2172298 h 2344739"/>
              <a:gd name="connsiteX152" fmla="*/ 4715526 w 12192001"/>
              <a:gd name="connsiteY152" fmla="*/ 2173573 h 2344739"/>
              <a:gd name="connsiteX153" fmla="*/ 4515814 w 12192001"/>
              <a:gd name="connsiteY153" fmla="*/ 2163671 h 2344739"/>
              <a:gd name="connsiteX154" fmla="*/ 4428543 w 12192001"/>
              <a:gd name="connsiteY154" fmla="*/ 2153020 h 2344739"/>
              <a:gd name="connsiteX155" fmla="*/ 4362875 w 12192001"/>
              <a:gd name="connsiteY155" fmla="*/ 2151674 h 2344739"/>
              <a:gd name="connsiteX156" fmla="*/ 4316966 w 12192001"/>
              <a:gd name="connsiteY156" fmla="*/ 2158289 h 2344739"/>
              <a:gd name="connsiteX157" fmla="*/ 4315110 w 12192001"/>
              <a:gd name="connsiteY157" fmla="*/ 2156948 h 2344739"/>
              <a:gd name="connsiteX158" fmla="*/ 4295144 w 12192001"/>
              <a:gd name="connsiteY158" fmla="*/ 2155069 h 2344739"/>
              <a:gd name="connsiteX159" fmla="*/ 4290064 w 12192001"/>
              <a:gd name="connsiteY159" fmla="*/ 2157986 h 2344739"/>
              <a:gd name="connsiteX160" fmla="*/ 4276142 w 12192001"/>
              <a:gd name="connsiteY160" fmla="*/ 2157740 h 2344739"/>
              <a:gd name="connsiteX161" fmla="*/ 4248117 w 12192001"/>
              <a:gd name="connsiteY161" fmla="*/ 2160064 h 2344739"/>
              <a:gd name="connsiteX162" fmla="*/ 4202051 w 12192001"/>
              <a:gd name="connsiteY162" fmla="*/ 2157269 h 2344739"/>
              <a:gd name="connsiteX163" fmla="*/ 4201745 w 12192001"/>
              <a:gd name="connsiteY163" fmla="*/ 2156010 h 2344739"/>
              <a:gd name="connsiteX164" fmla="*/ 4191248 w 12192001"/>
              <a:gd name="connsiteY164" fmla="*/ 2150376 h 2344739"/>
              <a:gd name="connsiteX165" fmla="*/ 4142745 w 12192001"/>
              <a:gd name="connsiteY165" fmla="*/ 2134511 h 2344739"/>
              <a:gd name="connsiteX166" fmla="*/ 4083097 w 12192001"/>
              <a:gd name="connsiteY166" fmla="*/ 2107978 h 2344739"/>
              <a:gd name="connsiteX167" fmla="*/ 4074546 w 12192001"/>
              <a:gd name="connsiteY167" fmla="*/ 2107143 h 2344739"/>
              <a:gd name="connsiteX168" fmla="*/ 4074427 w 12192001"/>
              <a:gd name="connsiteY168" fmla="*/ 2106844 h 2344739"/>
              <a:gd name="connsiteX169" fmla="*/ 4065510 w 12192001"/>
              <a:gd name="connsiteY169" fmla="*/ 2105400 h 2344739"/>
              <a:gd name="connsiteX170" fmla="*/ 4058954 w 12192001"/>
              <a:gd name="connsiteY170" fmla="*/ 2105618 h 2344739"/>
              <a:gd name="connsiteX171" fmla="*/ 4042364 w 12192001"/>
              <a:gd name="connsiteY171" fmla="*/ 2103997 h 2344739"/>
              <a:gd name="connsiteX172" fmla="*/ 4036997 w 12192001"/>
              <a:gd name="connsiteY172" fmla="*/ 2101563 h 2344739"/>
              <a:gd name="connsiteX173" fmla="*/ 4035363 w 12192001"/>
              <a:gd name="connsiteY173" fmla="*/ 2097896 h 2344739"/>
              <a:gd name="connsiteX174" fmla="*/ 4033778 w 12192001"/>
              <a:gd name="connsiteY174" fmla="*/ 2098131 h 2344739"/>
              <a:gd name="connsiteX175" fmla="*/ 4004538 w 12192001"/>
              <a:gd name="connsiteY175" fmla="*/ 2085563 h 2344739"/>
              <a:gd name="connsiteX176" fmla="*/ 3936846 w 12192001"/>
              <a:gd name="connsiteY176" fmla="*/ 2068106 h 2344739"/>
              <a:gd name="connsiteX177" fmla="*/ 3897275 w 12192001"/>
              <a:gd name="connsiteY177" fmla="*/ 2062451 h 2344739"/>
              <a:gd name="connsiteX178" fmla="*/ 3789760 w 12192001"/>
              <a:gd name="connsiteY178" fmla="*/ 2042213 h 2344739"/>
              <a:gd name="connsiteX179" fmla="*/ 3682513 w 12192001"/>
              <a:gd name="connsiteY179" fmla="*/ 2018290 h 2344739"/>
              <a:gd name="connsiteX180" fmla="*/ 3610035 w 12192001"/>
              <a:gd name="connsiteY180" fmla="*/ 1986019 h 2344739"/>
              <a:gd name="connsiteX181" fmla="*/ 3603855 w 12192001"/>
              <a:gd name="connsiteY181" fmla="*/ 1987381 h 2344739"/>
              <a:gd name="connsiteX182" fmla="*/ 3594736 w 12192001"/>
              <a:gd name="connsiteY182" fmla="*/ 1987545 h 2344739"/>
              <a:gd name="connsiteX183" fmla="*/ 3594501 w 12192001"/>
              <a:gd name="connsiteY183" fmla="*/ 1987276 h 2344739"/>
              <a:gd name="connsiteX184" fmla="*/ 3585978 w 12192001"/>
              <a:gd name="connsiteY184" fmla="*/ 1987966 h 2344739"/>
              <a:gd name="connsiteX185" fmla="*/ 3536135 w 12192001"/>
              <a:gd name="connsiteY185" fmla="*/ 1978267 h 2344739"/>
              <a:gd name="connsiteX186" fmla="*/ 3473223 w 12192001"/>
              <a:gd name="connsiteY186" fmla="*/ 1974606 h 2344739"/>
              <a:gd name="connsiteX187" fmla="*/ 3400728 w 12192001"/>
              <a:gd name="connsiteY187" fmla="*/ 1962558 h 2344739"/>
              <a:gd name="connsiteX188" fmla="*/ 3363888 w 12192001"/>
              <a:gd name="connsiteY188" fmla="*/ 1979510 h 2344739"/>
              <a:gd name="connsiteX189" fmla="*/ 3344026 w 12192001"/>
              <a:gd name="connsiteY189" fmla="*/ 1981192 h 2344739"/>
              <a:gd name="connsiteX190" fmla="*/ 3341698 w 12192001"/>
              <a:gd name="connsiteY190" fmla="*/ 1980217 h 2344739"/>
              <a:gd name="connsiteX191" fmla="*/ 3262356 w 12192001"/>
              <a:gd name="connsiteY191" fmla="*/ 1986094 h 2344739"/>
              <a:gd name="connsiteX192" fmla="*/ 3142556 w 12192001"/>
              <a:gd name="connsiteY192" fmla="*/ 1993869 h 2344739"/>
              <a:gd name="connsiteX193" fmla="*/ 3030291 w 12192001"/>
              <a:gd name="connsiteY193" fmla="*/ 1996512 h 2344739"/>
              <a:gd name="connsiteX194" fmla="*/ 2781569 w 12192001"/>
              <a:gd name="connsiteY194" fmla="*/ 2018333 h 2344739"/>
              <a:gd name="connsiteX195" fmla="*/ 2646527 w 12192001"/>
              <a:gd name="connsiteY195" fmla="*/ 2028869 h 2344739"/>
              <a:gd name="connsiteX196" fmla="*/ 2568028 w 12192001"/>
              <a:gd name="connsiteY196" fmla="*/ 2002628 h 2344739"/>
              <a:gd name="connsiteX197" fmla="*/ 2443255 w 12192001"/>
              <a:gd name="connsiteY197" fmla="*/ 2016529 h 2344739"/>
              <a:gd name="connsiteX198" fmla="*/ 2315112 w 12192001"/>
              <a:gd name="connsiteY198" fmla="*/ 2024996 h 2344739"/>
              <a:gd name="connsiteX199" fmla="*/ 2208578 w 12192001"/>
              <a:gd name="connsiteY199" fmla="*/ 2019763 h 2344739"/>
              <a:gd name="connsiteX200" fmla="*/ 2094665 w 12192001"/>
              <a:gd name="connsiteY200" fmla="*/ 2003052 h 2344739"/>
              <a:gd name="connsiteX201" fmla="*/ 1997356 w 12192001"/>
              <a:gd name="connsiteY201" fmla="*/ 1995032 h 2344739"/>
              <a:gd name="connsiteX202" fmla="*/ 1928172 w 12192001"/>
              <a:gd name="connsiteY202" fmla="*/ 2016977 h 2344739"/>
              <a:gd name="connsiteX203" fmla="*/ 1921650 w 12192001"/>
              <a:gd name="connsiteY203" fmla="*/ 2012146 h 2344739"/>
              <a:gd name="connsiteX204" fmla="*/ 1873080 w 12192001"/>
              <a:gd name="connsiteY204" fmla="*/ 2013741 h 2344739"/>
              <a:gd name="connsiteX205" fmla="*/ 1786655 w 12192001"/>
              <a:gd name="connsiteY205" fmla="*/ 2041363 h 2344739"/>
              <a:gd name="connsiteX206" fmla="*/ 1738204 w 12192001"/>
              <a:gd name="connsiteY206" fmla="*/ 2036312 h 2344739"/>
              <a:gd name="connsiteX207" fmla="*/ 1675071 w 12192001"/>
              <a:gd name="connsiteY207" fmla="*/ 2019963 h 2344739"/>
              <a:gd name="connsiteX208" fmla="*/ 1608669 w 12192001"/>
              <a:gd name="connsiteY208" fmla="*/ 2013066 h 2344739"/>
              <a:gd name="connsiteX209" fmla="*/ 1496110 w 12192001"/>
              <a:gd name="connsiteY209" fmla="*/ 1987476 h 2344739"/>
              <a:gd name="connsiteX210" fmla="*/ 1149979 w 12192001"/>
              <a:gd name="connsiteY210" fmla="*/ 1938041 h 2344739"/>
              <a:gd name="connsiteX211" fmla="*/ 858269 w 12192001"/>
              <a:gd name="connsiteY211" fmla="*/ 1928608 h 2344739"/>
              <a:gd name="connsiteX212" fmla="*/ 837540 w 12192001"/>
              <a:gd name="connsiteY212" fmla="*/ 1929821 h 2344739"/>
              <a:gd name="connsiteX213" fmla="*/ 816809 w 12192001"/>
              <a:gd name="connsiteY213" fmla="*/ 1927857 h 2344739"/>
              <a:gd name="connsiteX214" fmla="*/ 811506 w 12192001"/>
              <a:gd name="connsiteY214" fmla="*/ 1930751 h 2344739"/>
              <a:gd name="connsiteX215" fmla="*/ 797041 w 12192001"/>
              <a:gd name="connsiteY215" fmla="*/ 1930446 h 2344739"/>
              <a:gd name="connsiteX216" fmla="*/ 767901 w 12192001"/>
              <a:gd name="connsiteY216" fmla="*/ 1932653 h 2344739"/>
              <a:gd name="connsiteX217" fmla="*/ 763053 w 12192001"/>
              <a:gd name="connsiteY217" fmla="*/ 1930432 h 2344739"/>
              <a:gd name="connsiteX218" fmla="*/ 720047 w 12192001"/>
              <a:gd name="connsiteY218" fmla="*/ 1929661 h 2344739"/>
              <a:gd name="connsiteX219" fmla="*/ 719742 w 12192001"/>
              <a:gd name="connsiteY219" fmla="*/ 1928399 h 2344739"/>
              <a:gd name="connsiteX220" fmla="*/ 708875 w 12192001"/>
              <a:gd name="connsiteY220" fmla="*/ 1922722 h 2344739"/>
              <a:gd name="connsiteX221" fmla="*/ 596792 w 12192001"/>
              <a:gd name="connsiteY221" fmla="*/ 1879864 h 2344739"/>
              <a:gd name="connsiteX222" fmla="*/ 578535 w 12192001"/>
              <a:gd name="connsiteY222" fmla="*/ 1877212 h 2344739"/>
              <a:gd name="connsiteX223" fmla="*/ 571717 w 12192001"/>
              <a:gd name="connsiteY223" fmla="*/ 1877401 h 2344739"/>
              <a:gd name="connsiteX224" fmla="*/ 445099 w 12192001"/>
              <a:gd name="connsiteY224" fmla="*/ 1839371 h 2344739"/>
              <a:gd name="connsiteX225" fmla="*/ 404015 w 12192001"/>
              <a:gd name="connsiteY225" fmla="*/ 1833548 h 2344739"/>
              <a:gd name="connsiteX226" fmla="*/ 292435 w 12192001"/>
              <a:gd name="connsiteY226" fmla="*/ 1812852 h 2344739"/>
              <a:gd name="connsiteX227" fmla="*/ 118381 w 12192001"/>
              <a:gd name="connsiteY227" fmla="*/ 1761047 h 2344739"/>
              <a:gd name="connsiteX228" fmla="*/ 15526 w 12192001"/>
              <a:gd name="connsiteY228" fmla="*/ 1758191 h 2344739"/>
              <a:gd name="connsiteX229" fmla="*/ 2 w 12192001"/>
              <a:gd name="connsiteY229" fmla="*/ 1752722 h 2344739"/>
              <a:gd name="connsiteX230" fmla="*/ 1 w 12192001"/>
              <a:gd name="connsiteY230" fmla="*/ 762497 h 2344739"/>
              <a:gd name="connsiteX231" fmla="*/ 0 w 12192001"/>
              <a:gd name="connsiteY231" fmla="*/ 762497 h 2344739"/>
              <a:gd name="connsiteX232" fmla="*/ 0 w 12192001"/>
              <a:gd name="connsiteY232" fmla="*/ 222213 h 2344739"/>
              <a:gd name="connsiteX233" fmla="*/ 0 w 12192001"/>
              <a:gd name="connsiteY233"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22499 w 12192001"/>
              <a:gd name="connsiteY25" fmla="*/ 999965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51232 w 12192001"/>
              <a:gd name="connsiteY69" fmla="*/ 1923669 h 2344739"/>
              <a:gd name="connsiteX70" fmla="*/ 9113812 w 12192001"/>
              <a:gd name="connsiteY70" fmla="*/ 1919069 h 2344739"/>
              <a:gd name="connsiteX71" fmla="*/ 9053453 w 12192001"/>
              <a:gd name="connsiteY71" fmla="*/ 1910755 h 2344739"/>
              <a:gd name="connsiteX72" fmla="*/ 9005486 w 12192001"/>
              <a:gd name="connsiteY72" fmla="*/ 1914040 h 2344739"/>
              <a:gd name="connsiteX73" fmla="*/ 9005201 w 12192001"/>
              <a:gd name="connsiteY73" fmla="*/ 1913800 h 2344739"/>
              <a:gd name="connsiteX74" fmla="*/ 8996232 w 12192001"/>
              <a:gd name="connsiteY74" fmla="*/ 1915011 h 2344739"/>
              <a:gd name="connsiteX75" fmla="*/ 8990394 w 12192001"/>
              <a:gd name="connsiteY75" fmla="*/ 1917072 h 2344739"/>
              <a:gd name="connsiteX76" fmla="*/ 8974337 w 12192001"/>
              <a:gd name="connsiteY76" fmla="*/ 1920298 h 2344739"/>
              <a:gd name="connsiteX77" fmla="*/ 8968011 w 12192001"/>
              <a:gd name="connsiteY77" fmla="*/ 1919598 h 2344739"/>
              <a:gd name="connsiteX78" fmla="*/ 8963048 w 12192001"/>
              <a:gd name="connsiteY78" fmla="*/ 1917373 h 2344739"/>
              <a:gd name="connsiteX79" fmla="*/ 8928988 w 12192001"/>
              <a:gd name="connsiteY79" fmla="*/ 1914185 h 2344739"/>
              <a:gd name="connsiteX80" fmla="*/ 8752444 w 12192001"/>
              <a:gd name="connsiteY80" fmla="*/ 1933417 h 2344739"/>
              <a:gd name="connsiteX81" fmla="*/ 8707847 w 12192001"/>
              <a:gd name="connsiteY81" fmla="*/ 1935518 h 2344739"/>
              <a:gd name="connsiteX82" fmla="*/ 8596071 w 12192001"/>
              <a:gd name="connsiteY82" fmla="*/ 1944090 h 2344739"/>
              <a:gd name="connsiteX83" fmla="*/ 8525230 w 12192001"/>
              <a:gd name="connsiteY83" fmla="*/ 1929248 h 2344739"/>
              <a:gd name="connsiteX84" fmla="*/ 8510983 w 12192001"/>
              <a:gd name="connsiteY84" fmla="*/ 1935163 h 2344739"/>
              <a:gd name="connsiteX85" fmla="*/ 8506167 w 12192001"/>
              <a:gd name="connsiteY85" fmla="*/ 1938164 h 2344739"/>
              <a:gd name="connsiteX86" fmla="*/ 8497968 w 12192001"/>
              <a:gd name="connsiteY86" fmla="*/ 1940902 h 2344739"/>
              <a:gd name="connsiteX87" fmla="*/ 8497594 w 12192001"/>
              <a:gd name="connsiteY87" fmla="*/ 1940723 h 2344739"/>
              <a:gd name="connsiteX88" fmla="*/ 8490249 w 12192001"/>
              <a:gd name="connsiteY88" fmla="*/ 1943773 h 2344739"/>
              <a:gd name="connsiteX89" fmla="*/ 8367182 w 12192001"/>
              <a:gd name="connsiteY89" fmla="*/ 1957815 h 2344739"/>
              <a:gd name="connsiteX90" fmla="*/ 8353799 w 12192001"/>
              <a:gd name="connsiteY90" fmla="*/ 1958009 h 2344739"/>
              <a:gd name="connsiteX91" fmla="*/ 8352373 w 12192001"/>
              <a:gd name="connsiteY91" fmla="*/ 1957169 h 2344739"/>
              <a:gd name="connsiteX92" fmla="*/ 8320104 w 12192001"/>
              <a:gd name="connsiteY92" fmla="*/ 1974587 h 2344739"/>
              <a:gd name="connsiteX93" fmla="*/ 8314433 w 12192001"/>
              <a:gd name="connsiteY93" fmla="*/ 1974913 h 2344739"/>
              <a:gd name="connsiteX94" fmla="*/ 8295174 w 12192001"/>
              <a:gd name="connsiteY94" fmla="*/ 1988808 h 2344739"/>
              <a:gd name="connsiteX95" fmla="*/ 8284276 w 12192001"/>
              <a:gd name="connsiteY95" fmla="*/ 1994631 h 2344739"/>
              <a:gd name="connsiteX96" fmla="*/ 8283150 w 12192001"/>
              <a:gd name="connsiteY96" fmla="*/ 1999074 h 2344739"/>
              <a:gd name="connsiteX97" fmla="*/ 8266076 w 12192001"/>
              <a:gd name="connsiteY97" fmla="*/ 2006249 h 2344739"/>
              <a:gd name="connsiteX98" fmla="*/ 8263377 w 12192001"/>
              <a:gd name="connsiteY98" fmla="*/ 2006019 h 2344739"/>
              <a:gd name="connsiteX99" fmla="*/ 8252033 w 12192001"/>
              <a:gd name="connsiteY99" fmla="*/ 2015862 h 2344739"/>
              <a:gd name="connsiteX100" fmla="*/ 8245834 w 12192001"/>
              <a:gd name="connsiteY100" fmla="*/ 2028854 h 2344739"/>
              <a:gd name="connsiteX101" fmla="*/ 8090272 w 12192001"/>
              <a:gd name="connsiteY101" fmla="*/ 2075015 h 2344739"/>
              <a:gd name="connsiteX102" fmla="*/ 7905407 w 12192001"/>
              <a:gd name="connsiteY102" fmla="*/ 2116988 h 2344739"/>
              <a:gd name="connsiteX103" fmla="*/ 7718745 w 12192001"/>
              <a:gd name="connsiteY103" fmla="*/ 2142703 h 2344739"/>
              <a:gd name="connsiteX104" fmla="*/ 7614347 w 12192001"/>
              <a:gd name="connsiteY104" fmla="*/ 2139232 h 2344739"/>
              <a:gd name="connsiteX105" fmla="*/ 7527543 w 12192001"/>
              <a:gd name="connsiteY105" fmla="*/ 2145060 h 2344739"/>
              <a:gd name="connsiteX106" fmla="*/ 7519571 w 12192001"/>
              <a:gd name="connsiteY106" fmla="*/ 2147613 h 2344739"/>
              <a:gd name="connsiteX107" fmla="*/ 7507411 w 12192001"/>
              <a:gd name="connsiteY107" fmla="*/ 2148948 h 2344739"/>
              <a:gd name="connsiteX108" fmla="*/ 7507040 w 12192001"/>
              <a:gd name="connsiteY108" fmla="*/ 2148621 h 2344739"/>
              <a:gd name="connsiteX109" fmla="*/ 7495795 w 12192001"/>
              <a:gd name="connsiteY109" fmla="*/ 2150573 h 2344739"/>
              <a:gd name="connsiteX110" fmla="*/ 7405391 w 12192001"/>
              <a:gd name="connsiteY110" fmla="*/ 2142468 h 2344739"/>
              <a:gd name="connsiteX111" fmla="*/ 7312180 w 12192001"/>
              <a:gd name="connsiteY111" fmla="*/ 2132873 h 2344739"/>
              <a:gd name="connsiteX112" fmla="*/ 7310853 w 12192001"/>
              <a:gd name="connsiteY112" fmla="*/ 2131431 h 2344739"/>
              <a:gd name="connsiteX113" fmla="*/ 7218559 w 12192001"/>
              <a:gd name="connsiteY113" fmla="*/ 2156680 h 2344739"/>
              <a:gd name="connsiteX114" fmla="*/ 7201101 w 12192001"/>
              <a:gd name="connsiteY114" fmla="*/ 2161230 h 2344739"/>
              <a:gd name="connsiteX115" fmla="*/ 7197004 w 12192001"/>
              <a:gd name="connsiteY115" fmla="*/ 2166588 h 2344739"/>
              <a:gd name="connsiteX116" fmla="*/ 7170808 w 12192001"/>
              <a:gd name="connsiteY116" fmla="*/ 2171236 h 2344739"/>
              <a:gd name="connsiteX117" fmla="*/ 7096988 w 12192001"/>
              <a:gd name="connsiteY117" fmla="*/ 2183464 h 2344739"/>
              <a:gd name="connsiteX118" fmla="*/ 7018496 w 12192001"/>
              <a:gd name="connsiteY118" fmla="*/ 2183090 h 2344739"/>
              <a:gd name="connsiteX119" fmla="*/ 6904146 w 12192001"/>
              <a:gd name="connsiteY119" fmla="*/ 2212596 h 2344739"/>
              <a:gd name="connsiteX120" fmla="*/ 6708222 w 12192001"/>
              <a:gd name="connsiteY120" fmla="*/ 2240551 h 2344739"/>
              <a:gd name="connsiteX121" fmla="*/ 6549454 w 12192001"/>
              <a:gd name="connsiteY121" fmla="*/ 2269327 h 2344739"/>
              <a:gd name="connsiteX122" fmla="*/ 6317560 w 12192001"/>
              <a:gd name="connsiteY122" fmla="*/ 2316127 h 2344739"/>
              <a:gd name="connsiteX123" fmla="*/ 6168674 w 12192001"/>
              <a:gd name="connsiteY123" fmla="*/ 2318214 h 2344739"/>
              <a:gd name="connsiteX124" fmla="*/ 6073848 w 12192001"/>
              <a:gd name="connsiteY124" fmla="*/ 2338676 h 2344739"/>
              <a:gd name="connsiteX125" fmla="*/ 6068529 w 12192001"/>
              <a:gd name="connsiteY125" fmla="*/ 2337139 h 2344739"/>
              <a:gd name="connsiteX126" fmla="*/ 6048638 w 12192001"/>
              <a:gd name="connsiteY126" fmla="*/ 2337822 h 2344739"/>
              <a:gd name="connsiteX127" fmla="*/ 6041285 w 12192001"/>
              <a:gd name="connsiteY127" fmla="*/ 2329473 h 2344739"/>
              <a:gd name="connsiteX128" fmla="*/ 6010090 w 12192001"/>
              <a:gd name="connsiteY128" fmla="*/ 2324380 h 2344739"/>
              <a:gd name="connsiteX129" fmla="*/ 5957375 w 12192001"/>
              <a:gd name="connsiteY129" fmla="*/ 2328024 h 2344739"/>
              <a:gd name="connsiteX130" fmla="*/ 5758919 w 12192001"/>
              <a:gd name="connsiteY130" fmla="*/ 2343716 h 2344739"/>
              <a:gd name="connsiteX131" fmla="*/ 5626960 w 12192001"/>
              <a:gd name="connsiteY131" fmla="*/ 2344739 h 2344739"/>
              <a:gd name="connsiteX132" fmla="*/ 5470906 w 12192001"/>
              <a:gd name="connsiteY132" fmla="*/ 2330719 h 2344739"/>
              <a:gd name="connsiteX133" fmla="*/ 5432761 w 12192001"/>
              <a:gd name="connsiteY133" fmla="*/ 2319466 h 2344739"/>
              <a:gd name="connsiteX134" fmla="*/ 5381669 w 12192001"/>
              <a:gd name="connsiteY134" fmla="*/ 2301764 h 2344739"/>
              <a:gd name="connsiteX135" fmla="*/ 5261764 w 12192001"/>
              <a:gd name="connsiteY135" fmla="*/ 2281347 h 2344739"/>
              <a:gd name="connsiteX136" fmla="*/ 5222961 w 12192001"/>
              <a:gd name="connsiteY136" fmla="*/ 2270223 h 2344739"/>
              <a:gd name="connsiteX137" fmla="*/ 5174660 w 12192001"/>
              <a:gd name="connsiteY137" fmla="*/ 2267233 h 2344739"/>
              <a:gd name="connsiteX138" fmla="*/ 5156554 w 12192001"/>
              <a:gd name="connsiteY138" fmla="*/ 2260010 h 2344739"/>
              <a:gd name="connsiteX139" fmla="*/ 5142599 w 12192001"/>
              <a:gd name="connsiteY139" fmla="*/ 2256610 h 2344739"/>
              <a:gd name="connsiteX140" fmla="*/ 5139596 w 12192001"/>
              <a:gd name="connsiteY140" fmla="*/ 2254509 h 2344739"/>
              <a:gd name="connsiteX141" fmla="*/ 5121659 w 12192001"/>
              <a:gd name="connsiteY141" fmla="*/ 2243656 h 2344739"/>
              <a:gd name="connsiteX142" fmla="*/ 5065790 w 12192001"/>
              <a:gd name="connsiteY142" fmla="*/ 2250227 h 2344739"/>
              <a:gd name="connsiteX143" fmla="*/ 5011514 w 12192001"/>
              <a:gd name="connsiteY143" fmla="*/ 2233846 h 2344739"/>
              <a:gd name="connsiteX144" fmla="*/ 4840441 w 12192001"/>
              <a:gd name="connsiteY144" fmla="*/ 2209829 h 2344739"/>
              <a:gd name="connsiteX145" fmla="*/ 4762447 w 12192001"/>
              <a:gd name="connsiteY145" fmla="*/ 2182061 h 2344739"/>
              <a:gd name="connsiteX146" fmla="*/ 4723186 w 12192001"/>
              <a:gd name="connsiteY146" fmla="*/ 2173047 h 2344739"/>
              <a:gd name="connsiteX147" fmla="*/ 4721176 w 12192001"/>
              <a:gd name="connsiteY147" fmla="*/ 2172298 h 2344739"/>
              <a:gd name="connsiteX148" fmla="*/ 4722111 w 12192001"/>
              <a:gd name="connsiteY148" fmla="*/ 2172087 h 2344739"/>
              <a:gd name="connsiteX149" fmla="*/ 4717202 w 12192001"/>
              <a:gd name="connsiteY149" fmla="*/ 2170817 h 2344739"/>
              <a:gd name="connsiteX150" fmla="*/ 4721176 w 12192001"/>
              <a:gd name="connsiteY150" fmla="*/ 2172298 h 2344739"/>
              <a:gd name="connsiteX151" fmla="*/ 4715526 w 12192001"/>
              <a:gd name="connsiteY151" fmla="*/ 2173573 h 2344739"/>
              <a:gd name="connsiteX152" fmla="*/ 4515814 w 12192001"/>
              <a:gd name="connsiteY152" fmla="*/ 2163671 h 2344739"/>
              <a:gd name="connsiteX153" fmla="*/ 4428543 w 12192001"/>
              <a:gd name="connsiteY153" fmla="*/ 2153020 h 2344739"/>
              <a:gd name="connsiteX154" fmla="*/ 4362875 w 12192001"/>
              <a:gd name="connsiteY154" fmla="*/ 2151674 h 2344739"/>
              <a:gd name="connsiteX155" fmla="*/ 4316966 w 12192001"/>
              <a:gd name="connsiteY155" fmla="*/ 2158289 h 2344739"/>
              <a:gd name="connsiteX156" fmla="*/ 4315110 w 12192001"/>
              <a:gd name="connsiteY156" fmla="*/ 2156948 h 2344739"/>
              <a:gd name="connsiteX157" fmla="*/ 4295144 w 12192001"/>
              <a:gd name="connsiteY157" fmla="*/ 2155069 h 2344739"/>
              <a:gd name="connsiteX158" fmla="*/ 4290064 w 12192001"/>
              <a:gd name="connsiteY158" fmla="*/ 2157986 h 2344739"/>
              <a:gd name="connsiteX159" fmla="*/ 4276142 w 12192001"/>
              <a:gd name="connsiteY159" fmla="*/ 2157740 h 2344739"/>
              <a:gd name="connsiteX160" fmla="*/ 4248117 w 12192001"/>
              <a:gd name="connsiteY160" fmla="*/ 2160064 h 2344739"/>
              <a:gd name="connsiteX161" fmla="*/ 4202051 w 12192001"/>
              <a:gd name="connsiteY161" fmla="*/ 2157269 h 2344739"/>
              <a:gd name="connsiteX162" fmla="*/ 4201745 w 12192001"/>
              <a:gd name="connsiteY162" fmla="*/ 2156010 h 2344739"/>
              <a:gd name="connsiteX163" fmla="*/ 4191248 w 12192001"/>
              <a:gd name="connsiteY163" fmla="*/ 2150376 h 2344739"/>
              <a:gd name="connsiteX164" fmla="*/ 4142745 w 12192001"/>
              <a:gd name="connsiteY164" fmla="*/ 2134511 h 2344739"/>
              <a:gd name="connsiteX165" fmla="*/ 4083097 w 12192001"/>
              <a:gd name="connsiteY165" fmla="*/ 2107978 h 2344739"/>
              <a:gd name="connsiteX166" fmla="*/ 4074546 w 12192001"/>
              <a:gd name="connsiteY166" fmla="*/ 2107143 h 2344739"/>
              <a:gd name="connsiteX167" fmla="*/ 4074427 w 12192001"/>
              <a:gd name="connsiteY167" fmla="*/ 2106844 h 2344739"/>
              <a:gd name="connsiteX168" fmla="*/ 4065510 w 12192001"/>
              <a:gd name="connsiteY168" fmla="*/ 2105400 h 2344739"/>
              <a:gd name="connsiteX169" fmla="*/ 4058954 w 12192001"/>
              <a:gd name="connsiteY169" fmla="*/ 2105618 h 2344739"/>
              <a:gd name="connsiteX170" fmla="*/ 4042364 w 12192001"/>
              <a:gd name="connsiteY170" fmla="*/ 2103997 h 2344739"/>
              <a:gd name="connsiteX171" fmla="*/ 4036997 w 12192001"/>
              <a:gd name="connsiteY171" fmla="*/ 2101563 h 2344739"/>
              <a:gd name="connsiteX172" fmla="*/ 4035363 w 12192001"/>
              <a:gd name="connsiteY172" fmla="*/ 2097896 h 2344739"/>
              <a:gd name="connsiteX173" fmla="*/ 4033778 w 12192001"/>
              <a:gd name="connsiteY173" fmla="*/ 2098131 h 2344739"/>
              <a:gd name="connsiteX174" fmla="*/ 4004538 w 12192001"/>
              <a:gd name="connsiteY174" fmla="*/ 2085563 h 2344739"/>
              <a:gd name="connsiteX175" fmla="*/ 3936846 w 12192001"/>
              <a:gd name="connsiteY175" fmla="*/ 2068106 h 2344739"/>
              <a:gd name="connsiteX176" fmla="*/ 3897275 w 12192001"/>
              <a:gd name="connsiteY176" fmla="*/ 2062451 h 2344739"/>
              <a:gd name="connsiteX177" fmla="*/ 3789760 w 12192001"/>
              <a:gd name="connsiteY177" fmla="*/ 2042213 h 2344739"/>
              <a:gd name="connsiteX178" fmla="*/ 3682513 w 12192001"/>
              <a:gd name="connsiteY178" fmla="*/ 2018290 h 2344739"/>
              <a:gd name="connsiteX179" fmla="*/ 3610035 w 12192001"/>
              <a:gd name="connsiteY179" fmla="*/ 1986019 h 2344739"/>
              <a:gd name="connsiteX180" fmla="*/ 3603855 w 12192001"/>
              <a:gd name="connsiteY180" fmla="*/ 1987381 h 2344739"/>
              <a:gd name="connsiteX181" fmla="*/ 3594736 w 12192001"/>
              <a:gd name="connsiteY181" fmla="*/ 1987545 h 2344739"/>
              <a:gd name="connsiteX182" fmla="*/ 3594501 w 12192001"/>
              <a:gd name="connsiteY182" fmla="*/ 1987276 h 2344739"/>
              <a:gd name="connsiteX183" fmla="*/ 3585978 w 12192001"/>
              <a:gd name="connsiteY183" fmla="*/ 1987966 h 2344739"/>
              <a:gd name="connsiteX184" fmla="*/ 3536135 w 12192001"/>
              <a:gd name="connsiteY184" fmla="*/ 1978267 h 2344739"/>
              <a:gd name="connsiteX185" fmla="*/ 3473223 w 12192001"/>
              <a:gd name="connsiteY185" fmla="*/ 1974606 h 2344739"/>
              <a:gd name="connsiteX186" fmla="*/ 3400728 w 12192001"/>
              <a:gd name="connsiteY186" fmla="*/ 1962558 h 2344739"/>
              <a:gd name="connsiteX187" fmla="*/ 3363888 w 12192001"/>
              <a:gd name="connsiteY187" fmla="*/ 1979510 h 2344739"/>
              <a:gd name="connsiteX188" fmla="*/ 3344026 w 12192001"/>
              <a:gd name="connsiteY188" fmla="*/ 1981192 h 2344739"/>
              <a:gd name="connsiteX189" fmla="*/ 3341698 w 12192001"/>
              <a:gd name="connsiteY189" fmla="*/ 1980217 h 2344739"/>
              <a:gd name="connsiteX190" fmla="*/ 3262356 w 12192001"/>
              <a:gd name="connsiteY190" fmla="*/ 1986094 h 2344739"/>
              <a:gd name="connsiteX191" fmla="*/ 3142556 w 12192001"/>
              <a:gd name="connsiteY191" fmla="*/ 1993869 h 2344739"/>
              <a:gd name="connsiteX192" fmla="*/ 3030291 w 12192001"/>
              <a:gd name="connsiteY192" fmla="*/ 1996512 h 2344739"/>
              <a:gd name="connsiteX193" fmla="*/ 2781569 w 12192001"/>
              <a:gd name="connsiteY193" fmla="*/ 2018333 h 2344739"/>
              <a:gd name="connsiteX194" fmla="*/ 2646527 w 12192001"/>
              <a:gd name="connsiteY194" fmla="*/ 2028869 h 2344739"/>
              <a:gd name="connsiteX195" fmla="*/ 2568028 w 12192001"/>
              <a:gd name="connsiteY195" fmla="*/ 2002628 h 2344739"/>
              <a:gd name="connsiteX196" fmla="*/ 2443255 w 12192001"/>
              <a:gd name="connsiteY196" fmla="*/ 2016529 h 2344739"/>
              <a:gd name="connsiteX197" fmla="*/ 2315112 w 12192001"/>
              <a:gd name="connsiteY197" fmla="*/ 2024996 h 2344739"/>
              <a:gd name="connsiteX198" fmla="*/ 2208578 w 12192001"/>
              <a:gd name="connsiteY198" fmla="*/ 2019763 h 2344739"/>
              <a:gd name="connsiteX199" fmla="*/ 2094665 w 12192001"/>
              <a:gd name="connsiteY199" fmla="*/ 2003052 h 2344739"/>
              <a:gd name="connsiteX200" fmla="*/ 1997356 w 12192001"/>
              <a:gd name="connsiteY200" fmla="*/ 1995032 h 2344739"/>
              <a:gd name="connsiteX201" fmla="*/ 1928172 w 12192001"/>
              <a:gd name="connsiteY201" fmla="*/ 2016977 h 2344739"/>
              <a:gd name="connsiteX202" fmla="*/ 1921650 w 12192001"/>
              <a:gd name="connsiteY202" fmla="*/ 2012146 h 2344739"/>
              <a:gd name="connsiteX203" fmla="*/ 1873080 w 12192001"/>
              <a:gd name="connsiteY203" fmla="*/ 2013741 h 2344739"/>
              <a:gd name="connsiteX204" fmla="*/ 1786655 w 12192001"/>
              <a:gd name="connsiteY204" fmla="*/ 2041363 h 2344739"/>
              <a:gd name="connsiteX205" fmla="*/ 1738204 w 12192001"/>
              <a:gd name="connsiteY205" fmla="*/ 2036312 h 2344739"/>
              <a:gd name="connsiteX206" fmla="*/ 1675071 w 12192001"/>
              <a:gd name="connsiteY206" fmla="*/ 2019963 h 2344739"/>
              <a:gd name="connsiteX207" fmla="*/ 1608669 w 12192001"/>
              <a:gd name="connsiteY207" fmla="*/ 2013066 h 2344739"/>
              <a:gd name="connsiteX208" fmla="*/ 1496110 w 12192001"/>
              <a:gd name="connsiteY208" fmla="*/ 1987476 h 2344739"/>
              <a:gd name="connsiteX209" fmla="*/ 1149979 w 12192001"/>
              <a:gd name="connsiteY209" fmla="*/ 1938041 h 2344739"/>
              <a:gd name="connsiteX210" fmla="*/ 858269 w 12192001"/>
              <a:gd name="connsiteY210" fmla="*/ 1928608 h 2344739"/>
              <a:gd name="connsiteX211" fmla="*/ 837540 w 12192001"/>
              <a:gd name="connsiteY211" fmla="*/ 1929821 h 2344739"/>
              <a:gd name="connsiteX212" fmla="*/ 816809 w 12192001"/>
              <a:gd name="connsiteY212" fmla="*/ 1927857 h 2344739"/>
              <a:gd name="connsiteX213" fmla="*/ 811506 w 12192001"/>
              <a:gd name="connsiteY213" fmla="*/ 1930751 h 2344739"/>
              <a:gd name="connsiteX214" fmla="*/ 797041 w 12192001"/>
              <a:gd name="connsiteY214" fmla="*/ 1930446 h 2344739"/>
              <a:gd name="connsiteX215" fmla="*/ 767901 w 12192001"/>
              <a:gd name="connsiteY215" fmla="*/ 1932653 h 2344739"/>
              <a:gd name="connsiteX216" fmla="*/ 763053 w 12192001"/>
              <a:gd name="connsiteY216" fmla="*/ 1930432 h 2344739"/>
              <a:gd name="connsiteX217" fmla="*/ 720047 w 12192001"/>
              <a:gd name="connsiteY217" fmla="*/ 1929661 h 2344739"/>
              <a:gd name="connsiteX218" fmla="*/ 719742 w 12192001"/>
              <a:gd name="connsiteY218" fmla="*/ 1928399 h 2344739"/>
              <a:gd name="connsiteX219" fmla="*/ 708875 w 12192001"/>
              <a:gd name="connsiteY219" fmla="*/ 1922722 h 2344739"/>
              <a:gd name="connsiteX220" fmla="*/ 596792 w 12192001"/>
              <a:gd name="connsiteY220" fmla="*/ 1879864 h 2344739"/>
              <a:gd name="connsiteX221" fmla="*/ 578535 w 12192001"/>
              <a:gd name="connsiteY221" fmla="*/ 1877212 h 2344739"/>
              <a:gd name="connsiteX222" fmla="*/ 571717 w 12192001"/>
              <a:gd name="connsiteY222" fmla="*/ 1877401 h 2344739"/>
              <a:gd name="connsiteX223" fmla="*/ 445099 w 12192001"/>
              <a:gd name="connsiteY223" fmla="*/ 1839371 h 2344739"/>
              <a:gd name="connsiteX224" fmla="*/ 404015 w 12192001"/>
              <a:gd name="connsiteY224" fmla="*/ 1833548 h 2344739"/>
              <a:gd name="connsiteX225" fmla="*/ 292435 w 12192001"/>
              <a:gd name="connsiteY225" fmla="*/ 1812852 h 2344739"/>
              <a:gd name="connsiteX226" fmla="*/ 118381 w 12192001"/>
              <a:gd name="connsiteY226" fmla="*/ 1761047 h 2344739"/>
              <a:gd name="connsiteX227" fmla="*/ 15526 w 12192001"/>
              <a:gd name="connsiteY227" fmla="*/ 1758191 h 2344739"/>
              <a:gd name="connsiteX228" fmla="*/ 2 w 12192001"/>
              <a:gd name="connsiteY228" fmla="*/ 1752722 h 2344739"/>
              <a:gd name="connsiteX229" fmla="*/ 1 w 12192001"/>
              <a:gd name="connsiteY229" fmla="*/ 762497 h 2344739"/>
              <a:gd name="connsiteX230" fmla="*/ 0 w 12192001"/>
              <a:gd name="connsiteY230" fmla="*/ 762497 h 2344739"/>
              <a:gd name="connsiteX231" fmla="*/ 0 w 12192001"/>
              <a:gd name="connsiteY231" fmla="*/ 222213 h 2344739"/>
              <a:gd name="connsiteX232" fmla="*/ 0 w 12192001"/>
              <a:gd name="connsiteY232"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22499 w 12192001"/>
              <a:gd name="connsiteY25" fmla="*/ 999965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13812 w 12192001"/>
              <a:gd name="connsiteY69" fmla="*/ 1919069 h 2344739"/>
              <a:gd name="connsiteX70" fmla="*/ 9053453 w 12192001"/>
              <a:gd name="connsiteY70" fmla="*/ 1910755 h 2344739"/>
              <a:gd name="connsiteX71" fmla="*/ 9005486 w 12192001"/>
              <a:gd name="connsiteY71" fmla="*/ 1914040 h 2344739"/>
              <a:gd name="connsiteX72" fmla="*/ 9005201 w 12192001"/>
              <a:gd name="connsiteY72" fmla="*/ 1913800 h 2344739"/>
              <a:gd name="connsiteX73" fmla="*/ 8996232 w 12192001"/>
              <a:gd name="connsiteY73" fmla="*/ 1915011 h 2344739"/>
              <a:gd name="connsiteX74" fmla="*/ 8990394 w 12192001"/>
              <a:gd name="connsiteY74" fmla="*/ 1917072 h 2344739"/>
              <a:gd name="connsiteX75" fmla="*/ 8974337 w 12192001"/>
              <a:gd name="connsiteY75" fmla="*/ 1920298 h 2344739"/>
              <a:gd name="connsiteX76" fmla="*/ 8968011 w 12192001"/>
              <a:gd name="connsiteY76" fmla="*/ 1919598 h 2344739"/>
              <a:gd name="connsiteX77" fmla="*/ 8963048 w 12192001"/>
              <a:gd name="connsiteY77" fmla="*/ 1917373 h 2344739"/>
              <a:gd name="connsiteX78" fmla="*/ 8928988 w 12192001"/>
              <a:gd name="connsiteY78" fmla="*/ 1914185 h 2344739"/>
              <a:gd name="connsiteX79" fmla="*/ 8752444 w 12192001"/>
              <a:gd name="connsiteY79" fmla="*/ 1933417 h 2344739"/>
              <a:gd name="connsiteX80" fmla="*/ 8707847 w 12192001"/>
              <a:gd name="connsiteY80" fmla="*/ 1935518 h 2344739"/>
              <a:gd name="connsiteX81" fmla="*/ 8596071 w 12192001"/>
              <a:gd name="connsiteY81" fmla="*/ 1944090 h 2344739"/>
              <a:gd name="connsiteX82" fmla="*/ 8525230 w 12192001"/>
              <a:gd name="connsiteY82" fmla="*/ 1929248 h 2344739"/>
              <a:gd name="connsiteX83" fmla="*/ 8510983 w 12192001"/>
              <a:gd name="connsiteY83" fmla="*/ 1935163 h 2344739"/>
              <a:gd name="connsiteX84" fmla="*/ 8506167 w 12192001"/>
              <a:gd name="connsiteY84" fmla="*/ 1938164 h 2344739"/>
              <a:gd name="connsiteX85" fmla="*/ 8497968 w 12192001"/>
              <a:gd name="connsiteY85" fmla="*/ 1940902 h 2344739"/>
              <a:gd name="connsiteX86" fmla="*/ 8497594 w 12192001"/>
              <a:gd name="connsiteY86" fmla="*/ 1940723 h 2344739"/>
              <a:gd name="connsiteX87" fmla="*/ 8490249 w 12192001"/>
              <a:gd name="connsiteY87" fmla="*/ 1943773 h 2344739"/>
              <a:gd name="connsiteX88" fmla="*/ 8367182 w 12192001"/>
              <a:gd name="connsiteY88" fmla="*/ 1957815 h 2344739"/>
              <a:gd name="connsiteX89" fmla="*/ 8353799 w 12192001"/>
              <a:gd name="connsiteY89" fmla="*/ 1958009 h 2344739"/>
              <a:gd name="connsiteX90" fmla="*/ 8352373 w 12192001"/>
              <a:gd name="connsiteY90" fmla="*/ 1957169 h 2344739"/>
              <a:gd name="connsiteX91" fmla="*/ 8320104 w 12192001"/>
              <a:gd name="connsiteY91" fmla="*/ 1974587 h 2344739"/>
              <a:gd name="connsiteX92" fmla="*/ 8314433 w 12192001"/>
              <a:gd name="connsiteY92" fmla="*/ 1974913 h 2344739"/>
              <a:gd name="connsiteX93" fmla="*/ 8295174 w 12192001"/>
              <a:gd name="connsiteY93" fmla="*/ 1988808 h 2344739"/>
              <a:gd name="connsiteX94" fmla="*/ 8284276 w 12192001"/>
              <a:gd name="connsiteY94" fmla="*/ 1994631 h 2344739"/>
              <a:gd name="connsiteX95" fmla="*/ 8283150 w 12192001"/>
              <a:gd name="connsiteY95" fmla="*/ 1999074 h 2344739"/>
              <a:gd name="connsiteX96" fmla="*/ 8266076 w 12192001"/>
              <a:gd name="connsiteY96" fmla="*/ 2006249 h 2344739"/>
              <a:gd name="connsiteX97" fmla="*/ 8263377 w 12192001"/>
              <a:gd name="connsiteY97" fmla="*/ 2006019 h 2344739"/>
              <a:gd name="connsiteX98" fmla="*/ 8252033 w 12192001"/>
              <a:gd name="connsiteY98" fmla="*/ 2015862 h 2344739"/>
              <a:gd name="connsiteX99" fmla="*/ 8245834 w 12192001"/>
              <a:gd name="connsiteY99" fmla="*/ 2028854 h 2344739"/>
              <a:gd name="connsiteX100" fmla="*/ 8090272 w 12192001"/>
              <a:gd name="connsiteY100" fmla="*/ 2075015 h 2344739"/>
              <a:gd name="connsiteX101" fmla="*/ 7905407 w 12192001"/>
              <a:gd name="connsiteY101" fmla="*/ 2116988 h 2344739"/>
              <a:gd name="connsiteX102" fmla="*/ 7718745 w 12192001"/>
              <a:gd name="connsiteY102" fmla="*/ 2142703 h 2344739"/>
              <a:gd name="connsiteX103" fmla="*/ 7614347 w 12192001"/>
              <a:gd name="connsiteY103" fmla="*/ 2139232 h 2344739"/>
              <a:gd name="connsiteX104" fmla="*/ 7527543 w 12192001"/>
              <a:gd name="connsiteY104" fmla="*/ 2145060 h 2344739"/>
              <a:gd name="connsiteX105" fmla="*/ 7519571 w 12192001"/>
              <a:gd name="connsiteY105" fmla="*/ 2147613 h 2344739"/>
              <a:gd name="connsiteX106" fmla="*/ 7507411 w 12192001"/>
              <a:gd name="connsiteY106" fmla="*/ 2148948 h 2344739"/>
              <a:gd name="connsiteX107" fmla="*/ 7507040 w 12192001"/>
              <a:gd name="connsiteY107" fmla="*/ 2148621 h 2344739"/>
              <a:gd name="connsiteX108" fmla="*/ 7495795 w 12192001"/>
              <a:gd name="connsiteY108" fmla="*/ 2150573 h 2344739"/>
              <a:gd name="connsiteX109" fmla="*/ 7405391 w 12192001"/>
              <a:gd name="connsiteY109" fmla="*/ 2142468 h 2344739"/>
              <a:gd name="connsiteX110" fmla="*/ 7312180 w 12192001"/>
              <a:gd name="connsiteY110" fmla="*/ 2132873 h 2344739"/>
              <a:gd name="connsiteX111" fmla="*/ 7310853 w 12192001"/>
              <a:gd name="connsiteY111" fmla="*/ 2131431 h 2344739"/>
              <a:gd name="connsiteX112" fmla="*/ 7218559 w 12192001"/>
              <a:gd name="connsiteY112" fmla="*/ 2156680 h 2344739"/>
              <a:gd name="connsiteX113" fmla="*/ 7201101 w 12192001"/>
              <a:gd name="connsiteY113" fmla="*/ 2161230 h 2344739"/>
              <a:gd name="connsiteX114" fmla="*/ 7197004 w 12192001"/>
              <a:gd name="connsiteY114" fmla="*/ 2166588 h 2344739"/>
              <a:gd name="connsiteX115" fmla="*/ 7170808 w 12192001"/>
              <a:gd name="connsiteY115" fmla="*/ 2171236 h 2344739"/>
              <a:gd name="connsiteX116" fmla="*/ 7096988 w 12192001"/>
              <a:gd name="connsiteY116" fmla="*/ 2183464 h 2344739"/>
              <a:gd name="connsiteX117" fmla="*/ 7018496 w 12192001"/>
              <a:gd name="connsiteY117" fmla="*/ 2183090 h 2344739"/>
              <a:gd name="connsiteX118" fmla="*/ 6904146 w 12192001"/>
              <a:gd name="connsiteY118" fmla="*/ 2212596 h 2344739"/>
              <a:gd name="connsiteX119" fmla="*/ 6708222 w 12192001"/>
              <a:gd name="connsiteY119" fmla="*/ 2240551 h 2344739"/>
              <a:gd name="connsiteX120" fmla="*/ 6549454 w 12192001"/>
              <a:gd name="connsiteY120" fmla="*/ 2269327 h 2344739"/>
              <a:gd name="connsiteX121" fmla="*/ 6317560 w 12192001"/>
              <a:gd name="connsiteY121" fmla="*/ 2316127 h 2344739"/>
              <a:gd name="connsiteX122" fmla="*/ 6168674 w 12192001"/>
              <a:gd name="connsiteY122" fmla="*/ 2318214 h 2344739"/>
              <a:gd name="connsiteX123" fmla="*/ 6073848 w 12192001"/>
              <a:gd name="connsiteY123" fmla="*/ 2338676 h 2344739"/>
              <a:gd name="connsiteX124" fmla="*/ 6068529 w 12192001"/>
              <a:gd name="connsiteY124" fmla="*/ 2337139 h 2344739"/>
              <a:gd name="connsiteX125" fmla="*/ 6048638 w 12192001"/>
              <a:gd name="connsiteY125" fmla="*/ 2337822 h 2344739"/>
              <a:gd name="connsiteX126" fmla="*/ 6041285 w 12192001"/>
              <a:gd name="connsiteY126" fmla="*/ 2329473 h 2344739"/>
              <a:gd name="connsiteX127" fmla="*/ 6010090 w 12192001"/>
              <a:gd name="connsiteY127" fmla="*/ 2324380 h 2344739"/>
              <a:gd name="connsiteX128" fmla="*/ 5957375 w 12192001"/>
              <a:gd name="connsiteY128" fmla="*/ 2328024 h 2344739"/>
              <a:gd name="connsiteX129" fmla="*/ 5758919 w 12192001"/>
              <a:gd name="connsiteY129" fmla="*/ 2343716 h 2344739"/>
              <a:gd name="connsiteX130" fmla="*/ 5626960 w 12192001"/>
              <a:gd name="connsiteY130" fmla="*/ 2344739 h 2344739"/>
              <a:gd name="connsiteX131" fmla="*/ 5470906 w 12192001"/>
              <a:gd name="connsiteY131" fmla="*/ 2330719 h 2344739"/>
              <a:gd name="connsiteX132" fmla="*/ 5432761 w 12192001"/>
              <a:gd name="connsiteY132" fmla="*/ 2319466 h 2344739"/>
              <a:gd name="connsiteX133" fmla="*/ 5381669 w 12192001"/>
              <a:gd name="connsiteY133" fmla="*/ 2301764 h 2344739"/>
              <a:gd name="connsiteX134" fmla="*/ 5261764 w 12192001"/>
              <a:gd name="connsiteY134" fmla="*/ 2281347 h 2344739"/>
              <a:gd name="connsiteX135" fmla="*/ 5222961 w 12192001"/>
              <a:gd name="connsiteY135" fmla="*/ 2270223 h 2344739"/>
              <a:gd name="connsiteX136" fmla="*/ 5174660 w 12192001"/>
              <a:gd name="connsiteY136" fmla="*/ 2267233 h 2344739"/>
              <a:gd name="connsiteX137" fmla="*/ 5156554 w 12192001"/>
              <a:gd name="connsiteY137" fmla="*/ 2260010 h 2344739"/>
              <a:gd name="connsiteX138" fmla="*/ 5142599 w 12192001"/>
              <a:gd name="connsiteY138" fmla="*/ 2256610 h 2344739"/>
              <a:gd name="connsiteX139" fmla="*/ 5139596 w 12192001"/>
              <a:gd name="connsiteY139" fmla="*/ 2254509 h 2344739"/>
              <a:gd name="connsiteX140" fmla="*/ 5121659 w 12192001"/>
              <a:gd name="connsiteY140" fmla="*/ 2243656 h 2344739"/>
              <a:gd name="connsiteX141" fmla="*/ 5065790 w 12192001"/>
              <a:gd name="connsiteY141" fmla="*/ 2250227 h 2344739"/>
              <a:gd name="connsiteX142" fmla="*/ 5011514 w 12192001"/>
              <a:gd name="connsiteY142" fmla="*/ 2233846 h 2344739"/>
              <a:gd name="connsiteX143" fmla="*/ 4840441 w 12192001"/>
              <a:gd name="connsiteY143" fmla="*/ 2209829 h 2344739"/>
              <a:gd name="connsiteX144" fmla="*/ 4762447 w 12192001"/>
              <a:gd name="connsiteY144" fmla="*/ 2182061 h 2344739"/>
              <a:gd name="connsiteX145" fmla="*/ 4723186 w 12192001"/>
              <a:gd name="connsiteY145" fmla="*/ 2173047 h 2344739"/>
              <a:gd name="connsiteX146" fmla="*/ 4721176 w 12192001"/>
              <a:gd name="connsiteY146" fmla="*/ 2172298 h 2344739"/>
              <a:gd name="connsiteX147" fmla="*/ 4722111 w 12192001"/>
              <a:gd name="connsiteY147" fmla="*/ 2172087 h 2344739"/>
              <a:gd name="connsiteX148" fmla="*/ 4717202 w 12192001"/>
              <a:gd name="connsiteY148" fmla="*/ 2170817 h 2344739"/>
              <a:gd name="connsiteX149" fmla="*/ 4721176 w 12192001"/>
              <a:gd name="connsiteY149" fmla="*/ 2172298 h 2344739"/>
              <a:gd name="connsiteX150" fmla="*/ 4715526 w 12192001"/>
              <a:gd name="connsiteY150" fmla="*/ 2173573 h 2344739"/>
              <a:gd name="connsiteX151" fmla="*/ 4515814 w 12192001"/>
              <a:gd name="connsiteY151" fmla="*/ 2163671 h 2344739"/>
              <a:gd name="connsiteX152" fmla="*/ 4428543 w 12192001"/>
              <a:gd name="connsiteY152" fmla="*/ 2153020 h 2344739"/>
              <a:gd name="connsiteX153" fmla="*/ 4362875 w 12192001"/>
              <a:gd name="connsiteY153" fmla="*/ 2151674 h 2344739"/>
              <a:gd name="connsiteX154" fmla="*/ 4316966 w 12192001"/>
              <a:gd name="connsiteY154" fmla="*/ 2158289 h 2344739"/>
              <a:gd name="connsiteX155" fmla="*/ 4315110 w 12192001"/>
              <a:gd name="connsiteY155" fmla="*/ 2156948 h 2344739"/>
              <a:gd name="connsiteX156" fmla="*/ 4295144 w 12192001"/>
              <a:gd name="connsiteY156" fmla="*/ 2155069 h 2344739"/>
              <a:gd name="connsiteX157" fmla="*/ 4290064 w 12192001"/>
              <a:gd name="connsiteY157" fmla="*/ 2157986 h 2344739"/>
              <a:gd name="connsiteX158" fmla="*/ 4276142 w 12192001"/>
              <a:gd name="connsiteY158" fmla="*/ 2157740 h 2344739"/>
              <a:gd name="connsiteX159" fmla="*/ 4248117 w 12192001"/>
              <a:gd name="connsiteY159" fmla="*/ 2160064 h 2344739"/>
              <a:gd name="connsiteX160" fmla="*/ 4202051 w 12192001"/>
              <a:gd name="connsiteY160" fmla="*/ 2157269 h 2344739"/>
              <a:gd name="connsiteX161" fmla="*/ 4201745 w 12192001"/>
              <a:gd name="connsiteY161" fmla="*/ 2156010 h 2344739"/>
              <a:gd name="connsiteX162" fmla="*/ 4191248 w 12192001"/>
              <a:gd name="connsiteY162" fmla="*/ 2150376 h 2344739"/>
              <a:gd name="connsiteX163" fmla="*/ 4142745 w 12192001"/>
              <a:gd name="connsiteY163" fmla="*/ 2134511 h 2344739"/>
              <a:gd name="connsiteX164" fmla="*/ 4083097 w 12192001"/>
              <a:gd name="connsiteY164" fmla="*/ 2107978 h 2344739"/>
              <a:gd name="connsiteX165" fmla="*/ 4074546 w 12192001"/>
              <a:gd name="connsiteY165" fmla="*/ 2107143 h 2344739"/>
              <a:gd name="connsiteX166" fmla="*/ 4074427 w 12192001"/>
              <a:gd name="connsiteY166" fmla="*/ 2106844 h 2344739"/>
              <a:gd name="connsiteX167" fmla="*/ 4065510 w 12192001"/>
              <a:gd name="connsiteY167" fmla="*/ 2105400 h 2344739"/>
              <a:gd name="connsiteX168" fmla="*/ 4058954 w 12192001"/>
              <a:gd name="connsiteY168" fmla="*/ 2105618 h 2344739"/>
              <a:gd name="connsiteX169" fmla="*/ 4042364 w 12192001"/>
              <a:gd name="connsiteY169" fmla="*/ 2103997 h 2344739"/>
              <a:gd name="connsiteX170" fmla="*/ 4036997 w 12192001"/>
              <a:gd name="connsiteY170" fmla="*/ 2101563 h 2344739"/>
              <a:gd name="connsiteX171" fmla="*/ 4035363 w 12192001"/>
              <a:gd name="connsiteY171" fmla="*/ 2097896 h 2344739"/>
              <a:gd name="connsiteX172" fmla="*/ 4033778 w 12192001"/>
              <a:gd name="connsiteY172" fmla="*/ 2098131 h 2344739"/>
              <a:gd name="connsiteX173" fmla="*/ 4004538 w 12192001"/>
              <a:gd name="connsiteY173" fmla="*/ 2085563 h 2344739"/>
              <a:gd name="connsiteX174" fmla="*/ 3936846 w 12192001"/>
              <a:gd name="connsiteY174" fmla="*/ 2068106 h 2344739"/>
              <a:gd name="connsiteX175" fmla="*/ 3897275 w 12192001"/>
              <a:gd name="connsiteY175" fmla="*/ 2062451 h 2344739"/>
              <a:gd name="connsiteX176" fmla="*/ 3789760 w 12192001"/>
              <a:gd name="connsiteY176" fmla="*/ 2042213 h 2344739"/>
              <a:gd name="connsiteX177" fmla="*/ 3682513 w 12192001"/>
              <a:gd name="connsiteY177" fmla="*/ 2018290 h 2344739"/>
              <a:gd name="connsiteX178" fmla="*/ 3610035 w 12192001"/>
              <a:gd name="connsiteY178" fmla="*/ 1986019 h 2344739"/>
              <a:gd name="connsiteX179" fmla="*/ 3603855 w 12192001"/>
              <a:gd name="connsiteY179" fmla="*/ 1987381 h 2344739"/>
              <a:gd name="connsiteX180" fmla="*/ 3594736 w 12192001"/>
              <a:gd name="connsiteY180" fmla="*/ 1987545 h 2344739"/>
              <a:gd name="connsiteX181" fmla="*/ 3594501 w 12192001"/>
              <a:gd name="connsiteY181" fmla="*/ 1987276 h 2344739"/>
              <a:gd name="connsiteX182" fmla="*/ 3585978 w 12192001"/>
              <a:gd name="connsiteY182" fmla="*/ 1987966 h 2344739"/>
              <a:gd name="connsiteX183" fmla="*/ 3536135 w 12192001"/>
              <a:gd name="connsiteY183" fmla="*/ 1978267 h 2344739"/>
              <a:gd name="connsiteX184" fmla="*/ 3473223 w 12192001"/>
              <a:gd name="connsiteY184" fmla="*/ 1974606 h 2344739"/>
              <a:gd name="connsiteX185" fmla="*/ 3400728 w 12192001"/>
              <a:gd name="connsiteY185" fmla="*/ 1962558 h 2344739"/>
              <a:gd name="connsiteX186" fmla="*/ 3363888 w 12192001"/>
              <a:gd name="connsiteY186" fmla="*/ 1979510 h 2344739"/>
              <a:gd name="connsiteX187" fmla="*/ 3344026 w 12192001"/>
              <a:gd name="connsiteY187" fmla="*/ 1981192 h 2344739"/>
              <a:gd name="connsiteX188" fmla="*/ 3341698 w 12192001"/>
              <a:gd name="connsiteY188" fmla="*/ 1980217 h 2344739"/>
              <a:gd name="connsiteX189" fmla="*/ 3262356 w 12192001"/>
              <a:gd name="connsiteY189" fmla="*/ 1986094 h 2344739"/>
              <a:gd name="connsiteX190" fmla="*/ 3142556 w 12192001"/>
              <a:gd name="connsiteY190" fmla="*/ 1993869 h 2344739"/>
              <a:gd name="connsiteX191" fmla="*/ 3030291 w 12192001"/>
              <a:gd name="connsiteY191" fmla="*/ 1996512 h 2344739"/>
              <a:gd name="connsiteX192" fmla="*/ 2781569 w 12192001"/>
              <a:gd name="connsiteY192" fmla="*/ 2018333 h 2344739"/>
              <a:gd name="connsiteX193" fmla="*/ 2646527 w 12192001"/>
              <a:gd name="connsiteY193" fmla="*/ 2028869 h 2344739"/>
              <a:gd name="connsiteX194" fmla="*/ 2568028 w 12192001"/>
              <a:gd name="connsiteY194" fmla="*/ 2002628 h 2344739"/>
              <a:gd name="connsiteX195" fmla="*/ 2443255 w 12192001"/>
              <a:gd name="connsiteY195" fmla="*/ 2016529 h 2344739"/>
              <a:gd name="connsiteX196" fmla="*/ 2315112 w 12192001"/>
              <a:gd name="connsiteY196" fmla="*/ 2024996 h 2344739"/>
              <a:gd name="connsiteX197" fmla="*/ 2208578 w 12192001"/>
              <a:gd name="connsiteY197" fmla="*/ 2019763 h 2344739"/>
              <a:gd name="connsiteX198" fmla="*/ 2094665 w 12192001"/>
              <a:gd name="connsiteY198" fmla="*/ 2003052 h 2344739"/>
              <a:gd name="connsiteX199" fmla="*/ 1997356 w 12192001"/>
              <a:gd name="connsiteY199" fmla="*/ 1995032 h 2344739"/>
              <a:gd name="connsiteX200" fmla="*/ 1928172 w 12192001"/>
              <a:gd name="connsiteY200" fmla="*/ 2016977 h 2344739"/>
              <a:gd name="connsiteX201" fmla="*/ 1921650 w 12192001"/>
              <a:gd name="connsiteY201" fmla="*/ 2012146 h 2344739"/>
              <a:gd name="connsiteX202" fmla="*/ 1873080 w 12192001"/>
              <a:gd name="connsiteY202" fmla="*/ 2013741 h 2344739"/>
              <a:gd name="connsiteX203" fmla="*/ 1786655 w 12192001"/>
              <a:gd name="connsiteY203" fmla="*/ 2041363 h 2344739"/>
              <a:gd name="connsiteX204" fmla="*/ 1738204 w 12192001"/>
              <a:gd name="connsiteY204" fmla="*/ 2036312 h 2344739"/>
              <a:gd name="connsiteX205" fmla="*/ 1675071 w 12192001"/>
              <a:gd name="connsiteY205" fmla="*/ 2019963 h 2344739"/>
              <a:gd name="connsiteX206" fmla="*/ 1608669 w 12192001"/>
              <a:gd name="connsiteY206" fmla="*/ 2013066 h 2344739"/>
              <a:gd name="connsiteX207" fmla="*/ 1496110 w 12192001"/>
              <a:gd name="connsiteY207" fmla="*/ 1987476 h 2344739"/>
              <a:gd name="connsiteX208" fmla="*/ 1149979 w 12192001"/>
              <a:gd name="connsiteY208" fmla="*/ 1938041 h 2344739"/>
              <a:gd name="connsiteX209" fmla="*/ 858269 w 12192001"/>
              <a:gd name="connsiteY209" fmla="*/ 1928608 h 2344739"/>
              <a:gd name="connsiteX210" fmla="*/ 837540 w 12192001"/>
              <a:gd name="connsiteY210" fmla="*/ 1929821 h 2344739"/>
              <a:gd name="connsiteX211" fmla="*/ 816809 w 12192001"/>
              <a:gd name="connsiteY211" fmla="*/ 1927857 h 2344739"/>
              <a:gd name="connsiteX212" fmla="*/ 811506 w 12192001"/>
              <a:gd name="connsiteY212" fmla="*/ 1930751 h 2344739"/>
              <a:gd name="connsiteX213" fmla="*/ 797041 w 12192001"/>
              <a:gd name="connsiteY213" fmla="*/ 1930446 h 2344739"/>
              <a:gd name="connsiteX214" fmla="*/ 767901 w 12192001"/>
              <a:gd name="connsiteY214" fmla="*/ 1932653 h 2344739"/>
              <a:gd name="connsiteX215" fmla="*/ 763053 w 12192001"/>
              <a:gd name="connsiteY215" fmla="*/ 1930432 h 2344739"/>
              <a:gd name="connsiteX216" fmla="*/ 720047 w 12192001"/>
              <a:gd name="connsiteY216" fmla="*/ 1929661 h 2344739"/>
              <a:gd name="connsiteX217" fmla="*/ 719742 w 12192001"/>
              <a:gd name="connsiteY217" fmla="*/ 1928399 h 2344739"/>
              <a:gd name="connsiteX218" fmla="*/ 708875 w 12192001"/>
              <a:gd name="connsiteY218" fmla="*/ 1922722 h 2344739"/>
              <a:gd name="connsiteX219" fmla="*/ 596792 w 12192001"/>
              <a:gd name="connsiteY219" fmla="*/ 1879864 h 2344739"/>
              <a:gd name="connsiteX220" fmla="*/ 578535 w 12192001"/>
              <a:gd name="connsiteY220" fmla="*/ 1877212 h 2344739"/>
              <a:gd name="connsiteX221" fmla="*/ 571717 w 12192001"/>
              <a:gd name="connsiteY221" fmla="*/ 1877401 h 2344739"/>
              <a:gd name="connsiteX222" fmla="*/ 445099 w 12192001"/>
              <a:gd name="connsiteY222" fmla="*/ 1839371 h 2344739"/>
              <a:gd name="connsiteX223" fmla="*/ 404015 w 12192001"/>
              <a:gd name="connsiteY223" fmla="*/ 1833548 h 2344739"/>
              <a:gd name="connsiteX224" fmla="*/ 292435 w 12192001"/>
              <a:gd name="connsiteY224" fmla="*/ 1812852 h 2344739"/>
              <a:gd name="connsiteX225" fmla="*/ 118381 w 12192001"/>
              <a:gd name="connsiteY225" fmla="*/ 1761047 h 2344739"/>
              <a:gd name="connsiteX226" fmla="*/ 15526 w 12192001"/>
              <a:gd name="connsiteY226" fmla="*/ 1758191 h 2344739"/>
              <a:gd name="connsiteX227" fmla="*/ 2 w 12192001"/>
              <a:gd name="connsiteY227" fmla="*/ 1752722 h 2344739"/>
              <a:gd name="connsiteX228" fmla="*/ 1 w 12192001"/>
              <a:gd name="connsiteY228" fmla="*/ 762497 h 2344739"/>
              <a:gd name="connsiteX229" fmla="*/ 0 w 12192001"/>
              <a:gd name="connsiteY229" fmla="*/ 762497 h 2344739"/>
              <a:gd name="connsiteX230" fmla="*/ 0 w 12192001"/>
              <a:gd name="connsiteY230" fmla="*/ 222213 h 2344739"/>
              <a:gd name="connsiteX231" fmla="*/ 0 w 12192001"/>
              <a:gd name="connsiteY231"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22499 w 12192001"/>
              <a:gd name="connsiteY25" fmla="*/ 999965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13812 w 12192001"/>
              <a:gd name="connsiteY69" fmla="*/ 1919069 h 2344739"/>
              <a:gd name="connsiteX70" fmla="*/ 9053453 w 12192001"/>
              <a:gd name="connsiteY70" fmla="*/ 1910755 h 2344739"/>
              <a:gd name="connsiteX71" fmla="*/ 9005486 w 12192001"/>
              <a:gd name="connsiteY71" fmla="*/ 1914040 h 2344739"/>
              <a:gd name="connsiteX72" fmla="*/ 9005201 w 12192001"/>
              <a:gd name="connsiteY72" fmla="*/ 1913800 h 2344739"/>
              <a:gd name="connsiteX73" fmla="*/ 8996232 w 12192001"/>
              <a:gd name="connsiteY73" fmla="*/ 1915011 h 2344739"/>
              <a:gd name="connsiteX74" fmla="*/ 8990394 w 12192001"/>
              <a:gd name="connsiteY74" fmla="*/ 1917072 h 2344739"/>
              <a:gd name="connsiteX75" fmla="*/ 8974337 w 12192001"/>
              <a:gd name="connsiteY75" fmla="*/ 1920298 h 2344739"/>
              <a:gd name="connsiteX76" fmla="*/ 8968011 w 12192001"/>
              <a:gd name="connsiteY76" fmla="*/ 1919598 h 2344739"/>
              <a:gd name="connsiteX77" fmla="*/ 8963048 w 12192001"/>
              <a:gd name="connsiteY77" fmla="*/ 1917373 h 2344739"/>
              <a:gd name="connsiteX78" fmla="*/ 8928988 w 12192001"/>
              <a:gd name="connsiteY78" fmla="*/ 1914185 h 2344739"/>
              <a:gd name="connsiteX79" fmla="*/ 8752444 w 12192001"/>
              <a:gd name="connsiteY79" fmla="*/ 1933417 h 2344739"/>
              <a:gd name="connsiteX80" fmla="*/ 8707847 w 12192001"/>
              <a:gd name="connsiteY80" fmla="*/ 1935518 h 2344739"/>
              <a:gd name="connsiteX81" fmla="*/ 8596071 w 12192001"/>
              <a:gd name="connsiteY81" fmla="*/ 1944090 h 2344739"/>
              <a:gd name="connsiteX82" fmla="*/ 8525230 w 12192001"/>
              <a:gd name="connsiteY82" fmla="*/ 1929248 h 2344739"/>
              <a:gd name="connsiteX83" fmla="*/ 8510983 w 12192001"/>
              <a:gd name="connsiteY83" fmla="*/ 1935163 h 2344739"/>
              <a:gd name="connsiteX84" fmla="*/ 8506167 w 12192001"/>
              <a:gd name="connsiteY84" fmla="*/ 1938164 h 2344739"/>
              <a:gd name="connsiteX85" fmla="*/ 8497968 w 12192001"/>
              <a:gd name="connsiteY85" fmla="*/ 1940902 h 2344739"/>
              <a:gd name="connsiteX86" fmla="*/ 8497594 w 12192001"/>
              <a:gd name="connsiteY86" fmla="*/ 1940723 h 2344739"/>
              <a:gd name="connsiteX87" fmla="*/ 8490249 w 12192001"/>
              <a:gd name="connsiteY87" fmla="*/ 1943773 h 2344739"/>
              <a:gd name="connsiteX88" fmla="*/ 8367182 w 12192001"/>
              <a:gd name="connsiteY88" fmla="*/ 1957815 h 2344739"/>
              <a:gd name="connsiteX89" fmla="*/ 8353799 w 12192001"/>
              <a:gd name="connsiteY89" fmla="*/ 1958009 h 2344739"/>
              <a:gd name="connsiteX90" fmla="*/ 8352373 w 12192001"/>
              <a:gd name="connsiteY90" fmla="*/ 1957169 h 2344739"/>
              <a:gd name="connsiteX91" fmla="*/ 8320104 w 12192001"/>
              <a:gd name="connsiteY91" fmla="*/ 1974587 h 2344739"/>
              <a:gd name="connsiteX92" fmla="*/ 8314433 w 12192001"/>
              <a:gd name="connsiteY92" fmla="*/ 1974913 h 2344739"/>
              <a:gd name="connsiteX93" fmla="*/ 8295174 w 12192001"/>
              <a:gd name="connsiteY93" fmla="*/ 1988808 h 2344739"/>
              <a:gd name="connsiteX94" fmla="*/ 8284276 w 12192001"/>
              <a:gd name="connsiteY94" fmla="*/ 1994631 h 2344739"/>
              <a:gd name="connsiteX95" fmla="*/ 8283150 w 12192001"/>
              <a:gd name="connsiteY95" fmla="*/ 1999074 h 2344739"/>
              <a:gd name="connsiteX96" fmla="*/ 8266076 w 12192001"/>
              <a:gd name="connsiteY96" fmla="*/ 2006249 h 2344739"/>
              <a:gd name="connsiteX97" fmla="*/ 8263377 w 12192001"/>
              <a:gd name="connsiteY97" fmla="*/ 2006019 h 2344739"/>
              <a:gd name="connsiteX98" fmla="*/ 8252033 w 12192001"/>
              <a:gd name="connsiteY98" fmla="*/ 2015862 h 2344739"/>
              <a:gd name="connsiteX99" fmla="*/ 8245834 w 12192001"/>
              <a:gd name="connsiteY99" fmla="*/ 2028854 h 2344739"/>
              <a:gd name="connsiteX100" fmla="*/ 8090272 w 12192001"/>
              <a:gd name="connsiteY100" fmla="*/ 2075015 h 2344739"/>
              <a:gd name="connsiteX101" fmla="*/ 7905407 w 12192001"/>
              <a:gd name="connsiteY101" fmla="*/ 2116988 h 2344739"/>
              <a:gd name="connsiteX102" fmla="*/ 7718745 w 12192001"/>
              <a:gd name="connsiteY102" fmla="*/ 2142703 h 2344739"/>
              <a:gd name="connsiteX103" fmla="*/ 7614347 w 12192001"/>
              <a:gd name="connsiteY103" fmla="*/ 2139232 h 2344739"/>
              <a:gd name="connsiteX104" fmla="*/ 7527543 w 12192001"/>
              <a:gd name="connsiteY104" fmla="*/ 2145060 h 2344739"/>
              <a:gd name="connsiteX105" fmla="*/ 7519571 w 12192001"/>
              <a:gd name="connsiteY105" fmla="*/ 2147613 h 2344739"/>
              <a:gd name="connsiteX106" fmla="*/ 7507411 w 12192001"/>
              <a:gd name="connsiteY106" fmla="*/ 2148948 h 2344739"/>
              <a:gd name="connsiteX107" fmla="*/ 7507040 w 12192001"/>
              <a:gd name="connsiteY107" fmla="*/ 2148621 h 2344739"/>
              <a:gd name="connsiteX108" fmla="*/ 7495795 w 12192001"/>
              <a:gd name="connsiteY108" fmla="*/ 2150573 h 2344739"/>
              <a:gd name="connsiteX109" fmla="*/ 7405391 w 12192001"/>
              <a:gd name="connsiteY109" fmla="*/ 2142468 h 2344739"/>
              <a:gd name="connsiteX110" fmla="*/ 7312180 w 12192001"/>
              <a:gd name="connsiteY110" fmla="*/ 2132873 h 2344739"/>
              <a:gd name="connsiteX111" fmla="*/ 7218559 w 12192001"/>
              <a:gd name="connsiteY111" fmla="*/ 2156680 h 2344739"/>
              <a:gd name="connsiteX112" fmla="*/ 7201101 w 12192001"/>
              <a:gd name="connsiteY112" fmla="*/ 2161230 h 2344739"/>
              <a:gd name="connsiteX113" fmla="*/ 7197004 w 12192001"/>
              <a:gd name="connsiteY113" fmla="*/ 2166588 h 2344739"/>
              <a:gd name="connsiteX114" fmla="*/ 7170808 w 12192001"/>
              <a:gd name="connsiteY114" fmla="*/ 2171236 h 2344739"/>
              <a:gd name="connsiteX115" fmla="*/ 7096988 w 12192001"/>
              <a:gd name="connsiteY115" fmla="*/ 2183464 h 2344739"/>
              <a:gd name="connsiteX116" fmla="*/ 7018496 w 12192001"/>
              <a:gd name="connsiteY116" fmla="*/ 2183090 h 2344739"/>
              <a:gd name="connsiteX117" fmla="*/ 6904146 w 12192001"/>
              <a:gd name="connsiteY117" fmla="*/ 2212596 h 2344739"/>
              <a:gd name="connsiteX118" fmla="*/ 6708222 w 12192001"/>
              <a:gd name="connsiteY118" fmla="*/ 2240551 h 2344739"/>
              <a:gd name="connsiteX119" fmla="*/ 6549454 w 12192001"/>
              <a:gd name="connsiteY119" fmla="*/ 2269327 h 2344739"/>
              <a:gd name="connsiteX120" fmla="*/ 6317560 w 12192001"/>
              <a:gd name="connsiteY120" fmla="*/ 2316127 h 2344739"/>
              <a:gd name="connsiteX121" fmla="*/ 6168674 w 12192001"/>
              <a:gd name="connsiteY121" fmla="*/ 2318214 h 2344739"/>
              <a:gd name="connsiteX122" fmla="*/ 6073848 w 12192001"/>
              <a:gd name="connsiteY122" fmla="*/ 2338676 h 2344739"/>
              <a:gd name="connsiteX123" fmla="*/ 6068529 w 12192001"/>
              <a:gd name="connsiteY123" fmla="*/ 2337139 h 2344739"/>
              <a:gd name="connsiteX124" fmla="*/ 6048638 w 12192001"/>
              <a:gd name="connsiteY124" fmla="*/ 2337822 h 2344739"/>
              <a:gd name="connsiteX125" fmla="*/ 6041285 w 12192001"/>
              <a:gd name="connsiteY125" fmla="*/ 2329473 h 2344739"/>
              <a:gd name="connsiteX126" fmla="*/ 6010090 w 12192001"/>
              <a:gd name="connsiteY126" fmla="*/ 2324380 h 2344739"/>
              <a:gd name="connsiteX127" fmla="*/ 5957375 w 12192001"/>
              <a:gd name="connsiteY127" fmla="*/ 2328024 h 2344739"/>
              <a:gd name="connsiteX128" fmla="*/ 5758919 w 12192001"/>
              <a:gd name="connsiteY128" fmla="*/ 2343716 h 2344739"/>
              <a:gd name="connsiteX129" fmla="*/ 5626960 w 12192001"/>
              <a:gd name="connsiteY129" fmla="*/ 2344739 h 2344739"/>
              <a:gd name="connsiteX130" fmla="*/ 5470906 w 12192001"/>
              <a:gd name="connsiteY130" fmla="*/ 2330719 h 2344739"/>
              <a:gd name="connsiteX131" fmla="*/ 5432761 w 12192001"/>
              <a:gd name="connsiteY131" fmla="*/ 2319466 h 2344739"/>
              <a:gd name="connsiteX132" fmla="*/ 5381669 w 12192001"/>
              <a:gd name="connsiteY132" fmla="*/ 2301764 h 2344739"/>
              <a:gd name="connsiteX133" fmla="*/ 5261764 w 12192001"/>
              <a:gd name="connsiteY133" fmla="*/ 2281347 h 2344739"/>
              <a:gd name="connsiteX134" fmla="*/ 5222961 w 12192001"/>
              <a:gd name="connsiteY134" fmla="*/ 2270223 h 2344739"/>
              <a:gd name="connsiteX135" fmla="*/ 5174660 w 12192001"/>
              <a:gd name="connsiteY135" fmla="*/ 2267233 h 2344739"/>
              <a:gd name="connsiteX136" fmla="*/ 5156554 w 12192001"/>
              <a:gd name="connsiteY136" fmla="*/ 2260010 h 2344739"/>
              <a:gd name="connsiteX137" fmla="*/ 5142599 w 12192001"/>
              <a:gd name="connsiteY137" fmla="*/ 2256610 h 2344739"/>
              <a:gd name="connsiteX138" fmla="*/ 5139596 w 12192001"/>
              <a:gd name="connsiteY138" fmla="*/ 2254509 h 2344739"/>
              <a:gd name="connsiteX139" fmla="*/ 5121659 w 12192001"/>
              <a:gd name="connsiteY139" fmla="*/ 2243656 h 2344739"/>
              <a:gd name="connsiteX140" fmla="*/ 5065790 w 12192001"/>
              <a:gd name="connsiteY140" fmla="*/ 2250227 h 2344739"/>
              <a:gd name="connsiteX141" fmla="*/ 5011514 w 12192001"/>
              <a:gd name="connsiteY141" fmla="*/ 2233846 h 2344739"/>
              <a:gd name="connsiteX142" fmla="*/ 4840441 w 12192001"/>
              <a:gd name="connsiteY142" fmla="*/ 2209829 h 2344739"/>
              <a:gd name="connsiteX143" fmla="*/ 4762447 w 12192001"/>
              <a:gd name="connsiteY143" fmla="*/ 2182061 h 2344739"/>
              <a:gd name="connsiteX144" fmla="*/ 4723186 w 12192001"/>
              <a:gd name="connsiteY144" fmla="*/ 2173047 h 2344739"/>
              <a:gd name="connsiteX145" fmla="*/ 4721176 w 12192001"/>
              <a:gd name="connsiteY145" fmla="*/ 2172298 h 2344739"/>
              <a:gd name="connsiteX146" fmla="*/ 4722111 w 12192001"/>
              <a:gd name="connsiteY146" fmla="*/ 2172087 h 2344739"/>
              <a:gd name="connsiteX147" fmla="*/ 4717202 w 12192001"/>
              <a:gd name="connsiteY147" fmla="*/ 2170817 h 2344739"/>
              <a:gd name="connsiteX148" fmla="*/ 4721176 w 12192001"/>
              <a:gd name="connsiteY148" fmla="*/ 2172298 h 2344739"/>
              <a:gd name="connsiteX149" fmla="*/ 4715526 w 12192001"/>
              <a:gd name="connsiteY149" fmla="*/ 2173573 h 2344739"/>
              <a:gd name="connsiteX150" fmla="*/ 4515814 w 12192001"/>
              <a:gd name="connsiteY150" fmla="*/ 2163671 h 2344739"/>
              <a:gd name="connsiteX151" fmla="*/ 4428543 w 12192001"/>
              <a:gd name="connsiteY151" fmla="*/ 2153020 h 2344739"/>
              <a:gd name="connsiteX152" fmla="*/ 4362875 w 12192001"/>
              <a:gd name="connsiteY152" fmla="*/ 2151674 h 2344739"/>
              <a:gd name="connsiteX153" fmla="*/ 4316966 w 12192001"/>
              <a:gd name="connsiteY153" fmla="*/ 2158289 h 2344739"/>
              <a:gd name="connsiteX154" fmla="*/ 4315110 w 12192001"/>
              <a:gd name="connsiteY154" fmla="*/ 2156948 h 2344739"/>
              <a:gd name="connsiteX155" fmla="*/ 4295144 w 12192001"/>
              <a:gd name="connsiteY155" fmla="*/ 2155069 h 2344739"/>
              <a:gd name="connsiteX156" fmla="*/ 4290064 w 12192001"/>
              <a:gd name="connsiteY156" fmla="*/ 2157986 h 2344739"/>
              <a:gd name="connsiteX157" fmla="*/ 4276142 w 12192001"/>
              <a:gd name="connsiteY157" fmla="*/ 2157740 h 2344739"/>
              <a:gd name="connsiteX158" fmla="*/ 4248117 w 12192001"/>
              <a:gd name="connsiteY158" fmla="*/ 2160064 h 2344739"/>
              <a:gd name="connsiteX159" fmla="*/ 4202051 w 12192001"/>
              <a:gd name="connsiteY159" fmla="*/ 2157269 h 2344739"/>
              <a:gd name="connsiteX160" fmla="*/ 4201745 w 12192001"/>
              <a:gd name="connsiteY160" fmla="*/ 2156010 h 2344739"/>
              <a:gd name="connsiteX161" fmla="*/ 4191248 w 12192001"/>
              <a:gd name="connsiteY161" fmla="*/ 2150376 h 2344739"/>
              <a:gd name="connsiteX162" fmla="*/ 4142745 w 12192001"/>
              <a:gd name="connsiteY162" fmla="*/ 2134511 h 2344739"/>
              <a:gd name="connsiteX163" fmla="*/ 4083097 w 12192001"/>
              <a:gd name="connsiteY163" fmla="*/ 2107978 h 2344739"/>
              <a:gd name="connsiteX164" fmla="*/ 4074546 w 12192001"/>
              <a:gd name="connsiteY164" fmla="*/ 2107143 h 2344739"/>
              <a:gd name="connsiteX165" fmla="*/ 4074427 w 12192001"/>
              <a:gd name="connsiteY165" fmla="*/ 2106844 h 2344739"/>
              <a:gd name="connsiteX166" fmla="*/ 4065510 w 12192001"/>
              <a:gd name="connsiteY166" fmla="*/ 2105400 h 2344739"/>
              <a:gd name="connsiteX167" fmla="*/ 4058954 w 12192001"/>
              <a:gd name="connsiteY167" fmla="*/ 2105618 h 2344739"/>
              <a:gd name="connsiteX168" fmla="*/ 4042364 w 12192001"/>
              <a:gd name="connsiteY168" fmla="*/ 2103997 h 2344739"/>
              <a:gd name="connsiteX169" fmla="*/ 4036997 w 12192001"/>
              <a:gd name="connsiteY169" fmla="*/ 2101563 h 2344739"/>
              <a:gd name="connsiteX170" fmla="*/ 4035363 w 12192001"/>
              <a:gd name="connsiteY170" fmla="*/ 2097896 h 2344739"/>
              <a:gd name="connsiteX171" fmla="*/ 4033778 w 12192001"/>
              <a:gd name="connsiteY171" fmla="*/ 2098131 h 2344739"/>
              <a:gd name="connsiteX172" fmla="*/ 4004538 w 12192001"/>
              <a:gd name="connsiteY172" fmla="*/ 2085563 h 2344739"/>
              <a:gd name="connsiteX173" fmla="*/ 3936846 w 12192001"/>
              <a:gd name="connsiteY173" fmla="*/ 2068106 h 2344739"/>
              <a:gd name="connsiteX174" fmla="*/ 3897275 w 12192001"/>
              <a:gd name="connsiteY174" fmla="*/ 2062451 h 2344739"/>
              <a:gd name="connsiteX175" fmla="*/ 3789760 w 12192001"/>
              <a:gd name="connsiteY175" fmla="*/ 2042213 h 2344739"/>
              <a:gd name="connsiteX176" fmla="*/ 3682513 w 12192001"/>
              <a:gd name="connsiteY176" fmla="*/ 2018290 h 2344739"/>
              <a:gd name="connsiteX177" fmla="*/ 3610035 w 12192001"/>
              <a:gd name="connsiteY177" fmla="*/ 1986019 h 2344739"/>
              <a:gd name="connsiteX178" fmla="*/ 3603855 w 12192001"/>
              <a:gd name="connsiteY178" fmla="*/ 1987381 h 2344739"/>
              <a:gd name="connsiteX179" fmla="*/ 3594736 w 12192001"/>
              <a:gd name="connsiteY179" fmla="*/ 1987545 h 2344739"/>
              <a:gd name="connsiteX180" fmla="*/ 3594501 w 12192001"/>
              <a:gd name="connsiteY180" fmla="*/ 1987276 h 2344739"/>
              <a:gd name="connsiteX181" fmla="*/ 3585978 w 12192001"/>
              <a:gd name="connsiteY181" fmla="*/ 1987966 h 2344739"/>
              <a:gd name="connsiteX182" fmla="*/ 3536135 w 12192001"/>
              <a:gd name="connsiteY182" fmla="*/ 1978267 h 2344739"/>
              <a:gd name="connsiteX183" fmla="*/ 3473223 w 12192001"/>
              <a:gd name="connsiteY183" fmla="*/ 1974606 h 2344739"/>
              <a:gd name="connsiteX184" fmla="*/ 3400728 w 12192001"/>
              <a:gd name="connsiteY184" fmla="*/ 1962558 h 2344739"/>
              <a:gd name="connsiteX185" fmla="*/ 3363888 w 12192001"/>
              <a:gd name="connsiteY185" fmla="*/ 1979510 h 2344739"/>
              <a:gd name="connsiteX186" fmla="*/ 3344026 w 12192001"/>
              <a:gd name="connsiteY186" fmla="*/ 1981192 h 2344739"/>
              <a:gd name="connsiteX187" fmla="*/ 3341698 w 12192001"/>
              <a:gd name="connsiteY187" fmla="*/ 1980217 h 2344739"/>
              <a:gd name="connsiteX188" fmla="*/ 3262356 w 12192001"/>
              <a:gd name="connsiteY188" fmla="*/ 1986094 h 2344739"/>
              <a:gd name="connsiteX189" fmla="*/ 3142556 w 12192001"/>
              <a:gd name="connsiteY189" fmla="*/ 1993869 h 2344739"/>
              <a:gd name="connsiteX190" fmla="*/ 3030291 w 12192001"/>
              <a:gd name="connsiteY190" fmla="*/ 1996512 h 2344739"/>
              <a:gd name="connsiteX191" fmla="*/ 2781569 w 12192001"/>
              <a:gd name="connsiteY191" fmla="*/ 2018333 h 2344739"/>
              <a:gd name="connsiteX192" fmla="*/ 2646527 w 12192001"/>
              <a:gd name="connsiteY192" fmla="*/ 2028869 h 2344739"/>
              <a:gd name="connsiteX193" fmla="*/ 2568028 w 12192001"/>
              <a:gd name="connsiteY193" fmla="*/ 2002628 h 2344739"/>
              <a:gd name="connsiteX194" fmla="*/ 2443255 w 12192001"/>
              <a:gd name="connsiteY194" fmla="*/ 2016529 h 2344739"/>
              <a:gd name="connsiteX195" fmla="*/ 2315112 w 12192001"/>
              <a:gd name="connsiteY195" fmla="*/ 2024996 h 2344739"/>
              <a:gd name="connsiteX196" fmla="*/ 2208578 w 12192001"/>
              <a:gd name="connsiteY196" fmla="*/ 2019763 h 2344739"/>
              <a:gd name="connsiteX197" fmla="*/ 2094665 w 12192001"/>
              <a:gd name="connsiteY197" fmla="*/ 2003052 h 2344739"/>
              <a:gd name="connsiteX198" fmla="*/ 1997356 w 12192001"/>
              <a:gd name="connsiteY198" fmla="*/ 1995032 h 2344739"/>
              <a:gd name="connsiteX199" fmla="*/ 1928172 w 12192001"/>
              <a:gd name="connsiteY199" fmla="*/ 2016977 h 2344739"/>
              <a:gd name="connsiteX200" fmla="*/ 1921650 w 12192001"/>
              <a:gd name="connsiteY200" fmla="*/ 2012146 h 2344739"/>
              <a:gd name="connsiteX201" fmla="*/ 1873080 w 12192001"/>
              <a:gd name="connsiteY201" fmla="*/ 2013741 h 2344739"/>
              <a:gd name="connsiteX202" fmla="*/ 1786655 w 12192001"/>
              <a:gd name="connsiteY202" fmla="*/ 2041363 h 2344739"/>
              <a:gd name="connsiteX203" fmla="*/ 1738204 w 12192001"/>
              <a:gd name="connsiteY203" fmla="*/ 2036312 h 2344739"/>
              <a:gd name="connsiteX204" fmla="*/ 1675071 w 12192001"/>
              <a:gd name="connsiteY204" fmla="*/ 2019963 h 2344739"/>
              <a:gd name="connsiteX205" fmla="*/ 1608669 w 12192001"/>
              <a:gd name="connsiteY205" fmla="*/ 2013066 h 2344739"/>
              <a:gd name="connsiteX206" fmla="*/ 1496110 w 12192001"/>
              <a:gd name="connsiteY206" fmla="*/ 1987476 h 2344739"/>
              <a:gd name="connsiteX207" fmla="*/ 1149979 w 12192001"/>
              <a:gd name="connsiteY207" fmla="*/ 1938041 h 2344739"/>
              <a:gd name="connsiteX208" fmla="*/ 858269 w 12192001"/>
              <a:gd name="connsiteY208" fmla="*/ 1928608 h 2344739"/>
              <a:gd name="connsiteX209" fmla="*/ 837540 w 12192001"/>
              <a:gd name="connsiteY209" fmla="*/ 1929821 h 2344739"/>
              <a:gd name="connsiteX210" fmla="*/ 816809 w 12192001"/>
              <a:gd name="connsiteY210" fmla="*/ 1927857 h 2344739"/>
              <a:gd name="connsiteX211" fmla="*/ 811506 w 12192001"/>
              <a:gd name="connsiteY211" fmla="*/ 1930751 h 2344739"/>
              <a:gd name="connsiteX212" fmla="*/ 797041 w 12192001"/>
              <a:gd name="connsiteY212" fmla="*/ 1930446 h 2344739"/>
              <a:gd name="connsiteX213" fmla="*/ 767901 w 12192001"/>
              <a:gd name="connsiteY213" fmla="*/ 1932653 h 2344739"/>
              <a:gd name="connsiteX214" fmla="*/ 763053 w 12192001"/>
              <a:gd name="connsiteY214" fmla="*/ 1930432 h 2344739"/>
              <a:gd name="connsiteX215" fmla="*/ 720047 w 12192001"/>
              <a:gd name="connsiteY215" fmla="*/ 1929661 h 2344739"/>
              <a:gd name="connsiteX216" fmla="*/ 719742 w 12192001"/>
              <a:gd name="connsiteY216" fmla="*/ 1928399 h 2344739"/>
              <a:gd name="connsiteX217" fmla="*/ 708875 w 12192001"/>
              <a:gd name="connsiteY217" fmla="*/ 1922722 h 2344739"/>
              <a:gd name="connsiteX218" fmla="*/ 596792 w 12192001"/>
              <a:gd name="connsiteY218" fmla="*/ 1879864 h 2344739"/>
              <a:gd name="connsiteX219" fmla="*/ 578535 w 12192001"/>
              <a:gd name="connsiteY219" fmla="*/ 1877212 h 2344739"/>
              <a:gd name="connsiteX220" fmla="*/ 571717 w 12192001"/>
              <a:gd name="connsiteY220" fmla="*/ 1877401 h 2344739"/>
              <a:gd name="connsiteX221" fmla="*/ 445099 w 12192001"/>
              <a:gd name="connsiteY221" fmla="*/ 1839371 h 2344739"/>
              <a:gd name="connsiteX222" fmla="*/ 404015 w 12192001"/>
              <a:gd name="connsiteY222" fmla="*/ 1833548 h 2344739"/>
              <a:gd name="connsiteX223" fmla="*/ 292435 w 12192001"/>
              <a:gd name="connsiteY223" fmla="*/ 1812852 h 2344739"/>
              <a:gd name="connsiteX224" fmla="*/ 118381 w 12192001"/>
              <a:gd name="connsiteY224" fmla="*/ 1761047 h 2344739"/>
              <a:gd name="connsiteX225" fmla="*/ 15526 w 12192001"/>
              <a:gd name="connsiteY225" fmla="*/ 1758191 h 2344739"/>
              <a:gd name="connsiteX226" fmla="*/ 2 w 12192001"/>
              <a:gd name="connsiteY226" fmla="*/ 1752722 h 2344739"/>
              <a:gd name="connsiteX227" fmla="*/ 1 w 12192001"/>
              <a:gd name="connsiteY227" fmla="*/ 762497 h 2344739"/>
              <a:gd name="connsiteX228" fmla="*/ 0 w 12192001"/>
              <a:gd name="connsiteY228" fmla="*/ 762497 h 2344739"/>
              <a:gd name="connsiteX229" fmla="*/ 0 w 12192001"/>
              <a:gd name="connsiteY229" fmla="*/ 222213 h 2344739"/>
              <a:gd name="connsiteX230" fmla="*/ 0 w 12192001"/>
              <a:gd name="connsiteY230"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22499 w 12192001"/>
              <a:gd name="connsiteY25" fmla="*/ 999965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13812 w 12192001"/>
              <a:gd name="connsiteY69" fmla="*/ 1919069 h 2344739"/>
              <a:gd name="connsiteX70" fmla="*/ 9053453 w 12192001"/>
              <a:gd name="connsiteY70" fmla="*/ 1910755 h 2344739"/>
              <a:gd name="connsiteX71" fmla="*/ 9005486 w 12192001"/>
              <a:gd name="connsiteY71" fmla="*/ 1914040 h 2344739"/>
              <a:gd name="connsiteX72" fmla="*/ 9005201 w 12192001"/>
              <a:gd name="connsiteY72" fmla="*/ 1913800 h 2344739"/>
              <a:gd name="connsiteX73" fmla="*/ 8996232 w 12192001"/>
              <a:gd name="connsiteY73" fmla="*/ 1915011 h 2344739"/>
              <a:gd name="connsiteX74" fmla="*/ 8990394 w 12192001"/>
              <a:gd name="connsiteY74" fmla="*/ 1917072 h 2344739"/>
              <a:gd name="connsiteX75" fmla="*/ 8974337 w 12192001"/>
              <a:gd name="connsiteY75" fmla="*/ 1920298 h 2344739"/>
              <a:gd name="connsiteX76" fmla="*/ 8968011 w 12192001"/>
              <a:gd name="connsiteY76" fmla="*/ 1919598 h 2344739"/>
              <a:gd name="connsiteX77" fmla="*/ 8963048 w 12192001"/>
              <a:gd name="connsiteY77" fmla="*/ 1917373 h 2344739"/>
              <a:gd name="connsiteX78" fmla="*/ 8928988 w 12192001"/>
              <a:gd name="connsiteY78" fmla="*/ 1914185 h 2344739"/>
              <a:gd name="connsiteX79" fmla="*/ 8752444 w 12192001"/>
              <a:gd name="connsiteY79" fmla="*/ 1933417 h 2344739"/>
              <a:gd name="connsiteX80" fmla="*/ 8707847 w 12192001"/>
              <a:gd name="connsiteY80" fmla="*/ 1935518 h 2344739"/>
              <a:gd name="connsiteX81" fmla="*/ 8596071 w 12192001"/>
              <a:gd name="connsiteY81" fmla="*/ 1944090 h 2344739"/>
              <a:gd name="connsiteX82" fmla="*/ 8525230 w 12192001"/>
              <a:gd name="connsiteY82" fmla="*/ 1929248 h 2344739"/>
              <a:gd name="connsiteX83" fmla="*/ 8510983 w 12192001"/>
              <a:gd name="connsiteY83" fmla="*/ 1935163 h 2344739"/>
              <a:gd name="connsiteX84" fmla="*/ 8506167 w 12192001"/>
              <a:gd name="connsiteY84" fmla="*/ 1938164 h 2344739"/>
              <a:gd name="connsiteX85" fmla="*/ 8497968 w 12192001"/>
              <a:gd name="connsiteY85" fmla="*/ 1940902 h 2344739"/>
              <a:gd name="connsiteX86" fmla="*/ 8497594 w 12192001"/>
              <a:gd name="connsiteY86" fmla="*/ 1940723 h 2344739"/>
              <a:gd name="connsiteX87" fmla="*/ 8490249 w 12192001"/>
              <a:gd name="connsiteY87" fmla="*/ 1943773 h 2344739"/>
              <a:gd name="connsiteX88" fmla="*/ 8367182 w 12192001"/>
              <a:gd name="connsiteY88" fmla="*/ 1957815 h 2344739"/>
              <a:gd name="connsiteX89" fmla="*/ 8353799 w 12192001"/>
              <a:gd name="connsiteY89" fmla="*/ 1958009 h 2344739"/>
              <a:gd name="connsiteX90" fmla="*/ 8352373 w 12192001"/>
              <a:gd name="connsiteY90" fmla="*/ 1957169 h 2344739"/>
              <a:gd name="connsiteX91" fmla="*/ 8320104 w 12192001"/>
              <a:gd name="connsiteY91" fmla="*/ 1974587 h 2344739"/>
              <a:gd name="connsiteX92" fmla="*/ 8314433 w 12192001"/>
              <a:gd name="connsiteY92" fmla="*/ 1974913 h 2344739"/>
              <a:gd name="connsiteX93" fmla="*/ 8295174 w 12192001"/>
              <a:gd name="connsiteY93" fmla="*/ 1988808 h 2344739"/>
              <a:gd name="connsiteX94" fmla="*/ 8284276 w 12192001"/>
              <a:gd name="connsiteY94" fmla="*/ 1994631 h 2344739"/>
              <a:gd name="connsiteX95" fmla="*/ 8283150 w 12192001"/>
              <a:gd name="connsiteY95" fmla="*/ 1999074 h 2344739"/>
              <a:gd name="connsiteX96" fmla="*/ 8266076 w 12192001"/>
              <a:gd name="connsiteY96" fmla="*/ 2006249 h 2344739"/>
              <a:gd name="connsiteX97" fmla="*/ 8263377 w 12192001"/>
              <a:gd name="connsiteY97" fmla="*/ 2006019 h 2344739"/>
              <a:gd name="connsiteX98" fmla="*/ 8252033 w 12192001"/>
              <a:gd name="connsiteY98" fmla="*/ 2015862 h 2344739"/>
              <a:gd name="connsiteX99" fmla="*/ 8245834 w 12192001"/>
              <a:gd name="connsiteY99" fmla="*/ 2028854 h 2344739"/>
              <a:gd name="connsiteX100" fmla="*/ 8090272 w 12192001"/>
              <a:gd name="connsiteY100" fmla="*/ 2075015 h 2344739"/>
              <a:gd name="connsiteX101" fmla="*/ 7905407 w 12192001"/>
              <a:gd name="connsiteY101" fmla="*/ 2116988 h 2344739"/>
              <a:gd name="connsiteX102" fmla="*/ 7718745 w 12192001"/>
              <a:gd name="connsiteY102" fmla="*/ 2142703 h 2344739"/>
              <a:gd name="connsiteX103" fmla="*/ 7614347 w 12192001"/>
              <a:gd name="connsiteY103" fmla="*/ 2139232 h 2344739"/>
              <a:gd name="connsiteX104" fmla="*/ 7527543 w 12192001"/>
              <a:gd name="connsiteY104" fmla="*/ 2145060 h 2344739"/>
              <a:gd name="connsiteX105" fmla="*/ 7519571 w 12192001"/>
              <a:gd name="connsiteY105" fmla="*/ 2147613 h 2344739"/>
              <a:gd name="connsiteX106" fmla="*/ 7507411 w 12192001"/>
              <a:gd name="connsiteY106" fmla="*/ 2148948 h 2344739"/>
              <a:gd name="connsiteX107" fmla="*/ 7507040 w 12192001"/>
              <a:gd name="connsiteY107" fmla="*/ 2148621 h 2344739"/>
              <a:gd name="connsiteX108" fmla="*/ 7495795 w 12192001"/>
              <a:gd name="connsiteY108" fmla="*/ 2150573 h 2344739"/>
              <a:gd name="connsiteX109" fmla="*/ 7405391 w 12192001"/>
              <a:gd name="connsiteY109" fmla="*/ 2142468 h 2344739"/>
              <a:gd name="connsiteX110" fmla="*/ 7218559 w 12192001"/>
              <a:gd name="connsiteY110" fmla="*/ 2156680 h 2344739"/>
              <a:gd name="connsiteX111" fmla="*/ 7201101 w 12192001"/>
              <a:gd name="connsiteY111" fmla="*/ 2161230 h 2344739"/>
              <a:gd name="connsiteX112" fmla="*/ 7197004 w 12192001"/>
              <a:gd name="connsiteY112" fmla="*/ 2166588 h 2344739"/>
              <a:gd name="connsiteX113" fmla="*/ 7170808 w 12192001"/>
              <a:gd name="connsiteY113" fmla="*/ 2171236 h 2344739"/>
              <a:gd name="connsiteX114" fmla="*/ 7096988 w 12192001"/>
              <a:gd name="connsiteY114" fmla="*/ 2183464 h 2344739"/>
              <a:gd name="connsiteX115" fmla="*/ 7018496 w 12192001"/>
              <a:gd name="connsiteY115" fmla="*/ 2183090 h 2344739"/>
              <a:gd name="connsiteX116" fmla="*/ 6904146 w 12192001"/>
              <a:gd name="connsiteY116" fmla="*/ 2212596 h 2344739"/>
              <a:gd name="connsiteX117" fmla="*/ 6708222 w 12192001"/>
              <a:gd name="connsiteY117" fmla="*/ 2240551 h 2344739"/>
              <a:gd name="connsiteX118" fmla="*/ 6549454 w 12192001"/>
              <a:gd name="connsiteY118" fmla="*/ 2269327 h 2344739"/>
              <a:gd name="connsiteX119" fmla="*/ 6317560 w 12192001"/>
              <a:gd name="connsiteY119" fmla="*/ 2316127 h 2344739"/>
              <a:gd name="connsiteX120" fmla="*/ 6168674 w 12192001"/>
              <a:gd name="connsiteY120" fmla="*/ 2318214 h 2344739"/>
              <a:gd name="connsiteX121" fmla="*/ 6073848 w 12192001"/>
              <a:gd name="connsiteY121" fmla="*/ 2338676 h 2344739"/>
              <a:gd name="connsiteX122" fmla="*/ 6068529 w 12192001"/>
              <a:gd name="connsiteY122" fmla="*/ 2337139 h 2344739"/>
              <a:gd name="connsiteX123" fmla="*/ 6048638 w 12192001"/>
              <a:gd name="connsiteY123" fmla="*/ 2337822 h 2344739"/>
              <a:gd name="connsiteX124" fmla="*/ 6041285 w 12192001"/>
              <a:gd name="connsiteY124" fmla="*/ 2329473 h 2344739"/>
              <a:gd name="connsiteX125" fmla="*/ 6010090 w 12192001"/>
              <a:gd name="connsiteY125" fmla="*/ 2324380 h 2344739"/>
              <a:gd name="connsiteX126" fmla="*/ 5957375 w 12192001"/>
              <a:gd name="connsiteY126" fmla="*/ 2328024 h 2344739"/>
              <a:gd name="connsiteX127" fmla="*/ 5758919 w 12192001"/>
              <a:gd name="connsiteY127" fmla="*/ 2343716 h 2344739"/>
              <a:gd name="connsiteX128" fmla="*/ 5626960 w 12192001"/>
              <a:gd name="connsiteY128" fmla="*/ 2344739 h 2344739"/>
              <a:gd name="connsiteX129" fmla="*/ 5470906 w 12192001"/>
              <a:gd name="connsiteY129" fmla="*/ 2330719 h 2344739"/>
              <a:gd name="connsiteX130" fmla="*/ 5432761 w 12192001"/>
              <a:gd name="connsiteY130" fmla="*/ 2319466 h 2344739"/>
              <a:gd name="connsiteX131" fmla="*/ 5381669 w 12192001"/>
              <a:gd name="connsiteY131" fmla="*/ 2301764 h 2344739"/>
              <a:gd name="connsiteX132" fmla="*/ 5261764 w 12192001"/>
              <a:gd name="connsiteY132" fmla="*/ 2281347 h 2344739"/>
              <a:gd name="connsiteX133" fmla="*/ 5222961 w 12192001"/>
              <a:gd name="connsiteY133" fmla="*/ 2270223 h 2344739"/>
              <a:gd name="connsiteX134" fmla="*/ 5174660 w 12192001"/>
              <a:gd name="connsiteY134" fmla="*/ 2267233 h 2344739"/>
              <a:gd name="connsiteX135" fmla="*/ 5156554 w 12192001"/>
              <a:gd name="connsiteY135" fmla="*/ 2260010 h 2344739"/>
              <a:gd name="connsiteX136" fmla="*/ 5142599 w 12192001"/>
              <a:gd name="connsiteY136" fmla="*/ 2256610 h 2344739"/>
              <a:gd name="connsiteX137" fmla="*/ 5139596 w 12192001"/>
              <a:gd name="connsiteY137" fmla="*/ 2254509 h 2344739"/>
              <a:gd name="connsiteX138" fmla="*/ 5121659 w 12192001"/>
              <a:gd name="connsiteY138" fmla="*/ 2243656 h 2344739"/>
              <a:gd name="connsiteX139" fmla="*/ 5065790 w 12192001"/>
              <a:gd name="connsiteY139" fmla="*/ 2250227 h 2344739"/>
              <a:gd name="connsiteX140" fmla="*/ 5011514 w 12192001"/>
              <a:gd name="connsiteY140" fmla="*/ 2233846 h 2344739"/>
              <a:gd name="connsiteX141" fmla="*/ 4840441 w 12192001"/>
              <a:gd name="connsiteY141" fmla="*/ 2209829 h 2344739"/>
              <a:gd name="connsiteX142" fmla="*/ 4762447 w 12192001"/>
              <a:gd name="connsiteY142" fmla="*/ 2182061 h 2344739"/>
              <a:gd name="connsiteX143" fmla="*/ 4723186 w 12192001"/>
              <a:gd name="connsiteY143" fmla="*/ 2173047 h 2344739"/>
              <a:gd name="connsiteX144" fmla="*/ 4721176 w 12192001"/>
              <a:gd name="connsiteY144" fmla="*/ 2172298 h 2344739"/>
              <a:gd name="connsiteX145" fmla="*/ 4722111 w 12192001"/>
              <a:gd name="connsiteY145" fmla="*/ 2172087 h 2344739"/>
              <a:gd name="connsiteX146" fmla="*/ 4717202 w 12192001"/>
              <a:gd name="connsiteY146" fmla="*/ 2170817 h 2344739"/>
              <a:gd name="connsiteX147" fmla="*/ 4721176 w 12192001"/>
              <a:gd name="connsiteY147" fmla="*/ 2172298 h 2344739"/>
              <a:gd name="connsiteX148" fmla="*/ 4715526 w 12192001"/>
              <a:gd name="connsiteY148" fmla="*/ 2173573 h 2344739"/>
              <a:gd name="connsiteX149" fmla="*/ 4515814 w 12192001"/>
              <a:gd name="connsiteY149" fmla="*/ 2163671 h 2344739"/>
              <a:gd name="connsiteX150" fmla="*/ 4428543 w 12192001"/>
              <a:gd name="connsiteY150" fmla="*/ 2153020 h 2344739"/>
              <a:gd name="connsiteX151" fmla="*/ 4362875 w 12192001"/>
              <a:gd name="connsiteY151" fmla="*/ 2151674 h 2344739"/>
              <a:gd name="connsiteX152" fmla="*/ 4316966 w 12192001"/>
              <a:gd name="connsiteY152" fmla="*/ 2158289 h 2344739"/>
              <a:gd name="connsiteX153" fmla="*/ 4315110 w 12192001"/>
              <a:gd name="connsiteY153" fmla="*/ 2156948 h 2344739"/>
              <a:gd name="connsiteX154" fmla="*/ 4295144 w 12192001"/>
              <a:gd name="connsiteY154" fmla="*/ 2155069 h 2344739"/>
              <a:gd name="connsiteX155" fmla="*/ 4290064 w 12192001"/>
              <a:gd name="connsiteY155" fmla="*/ 2157986 h 2344739"/>
              <a:gd name="connsiteX156" fmla="*/ 4276142 w 12192001"/>
              <a:gd name="connsiteY156" fmla="*/ 2157740 h 2344739"/>
              <a:gd name="connsiteX157" fmla="*/ 4248117 w 12192001"/>
              <a:gd name="connsiteY157" fmla="*/ 2160064 h 2344739"/>
              <a:gd name="connsiteX158" fmla="*/ 4202051 w 12192001"/>
              <a:gd name="connsiteY158" fmla="*/ 2157269 h 2344739"/>
              <a:gd name="connsiteX159" fmla="*/ 4201745 w 12192001"/>
              <a:gd name="connsiteY159" fmla="*/ 2156010 h 2344739"/>
              <a:gd name="connsiteX160" fmla="*/ 4191248 w 12192001"/>
              <a:gd name="connsiteY160" fmla="*/ 2150376 h 2344739"/>
              <a:gd name="connsiteX161" fmla="*/ 4142745 w 12192001"/>
              <a:gd name="connsiteY161" fmla="*/ 2134511 h 2344739"/>
              <a:gd name="connsiteX162" fmla="*/ 4083097 w 12192001"/>
              <a:gd name="connsiteY162" fmla="*/ 2107978 h 2344739"/>
              <a:gd name="connsiteX163" fmla="*/ 4074546 w 12192001"/>
              <a:gd name="connsiteY163" fmla="*/ 2107143 h 2344739"/>
              <a:gd name="connsiteX164" fmla="*/ 4074427 w 12192001"/>
              <a:gd name="connsiteY164" fmla="*/ 2106844 h 2344739"/>
              <a:gd name="connsiteX165" fmla="*/ 4065510 w 12192001"/>
              <a:gd name="connsiteY165" fmla="*/ 2105400 h 2344739"/>
              <a:gd name="connsiteX166" fmla="*/ 4058954 w 12192001"/>
              <a:gd name="connsiteY166" fmla="*/ 2105618 h 2344739"/>
              <a:gd name="connsiteX167" fmla="*/ 4042364 w 12192001"/>
              <a:gd name="connsiteY167" fmla="*/ 2103997 h 2344739"/>
              <a:gd name="connsiteX168" fmla="*/ 4036997 w 12192001"/>
              <a:gd name="connsiteY168" fmla="*/ 2101563 h 2344739"/>
              <a:gd name="connsiteX169" fmla="*/ 4035363 w 12192001"/>
              <a:gd name="connsiteY169" fmla="*/ 2097896 h 2344739"/>
              <a:gd name="connsiteX170" fmla="*/ 4033778 w 12192001"/>
              <a:gd name="connsiteY170" fmla="*/ 2098131 h 2344739"/>
              <a:gd name="connsiteX171" fmla="*/ 4004538 w 12192001"/>
              <a:gd name="connsiteY171" fmla="*/ 2085563 h 2344739"/>
              <a:gd name="connsiteX172" fmla="*/ 3936846 w 12192001"/>
              <a:gd name="connsiteY172" fmla="*/ 2068106 h 2344739"/>
              <a:gd name="connsiteX173" fmla="*/ 3897275 w 12192001"/>
              <a:gd name="connsiteY173" fmla="*/ 2062451 h 2344739"/>
              <a:gd name="connsiteX174" fmla="*/ 3789760 w 12192001"/>
              <a:gd name="connsiteY174" fmla="*/ 2042213 h 2344739"/>
              <a:gd name="connsiteX175" fmla="*/ 3682513 w 12192001"/>
              <a:gd name="connsiteY175" fmla="*/ 2018290 h 2344739"/>
              <a:gd name="connsiteX176" fmla="*/ 3610035 w 12192001"/>
              <a:gd name="connsiteY176" fmla="*/ 1986019 h 2344739"/>
              <a:gd name="connsiteX177" fmla="*/ 3603855 w 12192001"/>
              <a:gd name="connsiteY177" fmla="*/ 1987381 h 2344739"/>
              <a:gd name="connsiteX178" fmla="*/ 3594736 w 12192001"/>
              <a:gd name="connsiteY178" fmla="*/ 1987545 h 2344739"/>
              <a:gd name="connsiteX179" fmla="*/ 3594501 w 12192001"/>
              <a:gd name="connsiteY179" fmla="*/ 1987276 h 2344739"/>
              <a:gd name="connsiteX180" fmla="*/ 3585978 w 12192001"/>
              <a:gd name="connsiteY180" fmla="*/ 1987966 h 2344739"/>
              <a:gd name="connsiteX181" fmla="*/ 3536135 w 12192001"/>
              <a:gd name="connsiteY181" fmla="*/ 1978267 h 2344739"/>
              <a:gd name="connsiteX182" fmla="*/ 3473223 w 12192001"/>
              <a:gd name="connsiteY182" fmla="*/ 1974606 h 2344739"/>
              <a:gd name="connsiteX183" fmla="*/ 3400728 w 12192001"/>
              <a:gd name="connsiteY183" fmla="*/ 1962558 h 2344739"/>
              <a:gd name="connsiteX184" fmla="*/ 3363888 w 12192001"/>
              <a:gd name="connsiteY184" fmla="*/ 1979510 h 2344739"/>
              <a:gd name="connsiteX185" fmla="*/ 3344026 w 12192001"/>
              <a:gd name="connsiteY185" fmla="*/ 1981192 h 2344739"/>
              <a:gd name="connsiteX186" fmla="*/ 3341698 w 12192001"/>
              <a:gd name="connsiteY186" fmla="*/ 1980217 h 2344739"/>
              <a:gd name="connsiteX187" fmla="*/ 3262356 w 12192001"/>
              <a:gd name="connsiteY187" fmla="*/ 1986094 h 2344739"/>
              <a:gd name="connsiteX188" fmla="*/ 3142556 w 12192001"/>
              <a:gd name="connsiteY188" fmla="*/ 1993869 h 2344739"/>
              <a:gd name="connsiteX189" fmla="*/ 3030291 w 12192001"/>
              <a:gd name="connsiteY189" fmla="*/ 1996512 h 2344739"/>
              <a:gd name="connsiteX190" fmla="*/ 2781569 w 12192001"/>
              <a:gd name="connsiteY190" fmla="*/ 2018333 h 2344739"/>
              <a:gd name="connsiteX191" fmla="*/ 2646527 w 12192001"/>
              <a:gd name="connsiteY191" fmla="*/ 2028869 h 2344739"/>
              <a:gd name="connsiteX192" fmla="*/ 2568028 w 12192001"/>
              <a:gd name="connsiteY192" fmla="*/ 2002628 h 2344739"/>
              <a:gd name="connsiteX193" fmla="*/ 2443255 w 12192001"/>
              <a:gd name="connsiteY193" fmla="*/ 2016529 h 2344739"/>
              <a:gd name="connsiteX194" fmla="*/ 2315112 w 12192001"/>
              <a:gd name="connsiteY194" fmla="*/ 2024996 h 2344739"/>
              <a:gd name="connsiteX195" fmla="*/ 2208578 w 12192001"/>
              <a:gd name="connsiteY195" fmla="*/ 2019763 h 2344739"/>
              <a:gd name="connsiteX196" fmla="*/ 2094665 w 12192001"/>
              <a:gd name="connsiteY196" fmla="*/ 2003052 h 2344739"/>
              <a:gd name="connsiteX197" fmla="*/ 1997356 w 12192001"/>
              <a:gd name="connsiteY197" fmla="*/ 1995032 h 2344739"/>
              <a:gd name="connsiteX198" fmla="*/ 1928172 w 12192001"/>
              <a:gd name="connsiteY198" fmla="*/ 2016977 h 2344739"/>
              <a:gd name="connsiteX199" fmla="*/ 1921650 w 12192001"/>
              <a:gd name="connsiteY199" fmla="*/ 2012146 h 2344739"/>
              <a:gd name="connsiteX200" fmla="*/ 1873080 w 12192001"/>
              <a:gd name="connsiteY200" fmla="*/ 2013741 h 2344739"/>
              <a:gd name="connsiteX201" fmla="*/ 1786655 w 12192001"/>
              <a:gd name="connsiteY201" fmla="*/ 2041363 h 2344739"/>
              <a:gd name="connsiteX202" fmla="*/ 1738204 w 12192001"/>
              <a:gd name="connsiteY202" fmla="*/ 2036312 h 2344739"/>
              <a:gd name="connsiteX203" fmla="*/ 1675071 w 12192001"/>
              <a:gd name="connsiteY203" fmla="*/ 2019963 h 2344739"/>
              <a:gd name="connsiteX204" fmla="*/ 1608669 w 12192001"/>
              <a:gd name="connsiteY204" fmla="*/ 2013066 h 2344739"/>
              <a:gd name="connsiteX205" fmla="*/ 1496110 w 12192001"/>
              <a:gd name="connsiteY205" fmla="*/ 1987476 h 2344739"/>
              <a:gd name="connsiteX206" fmla="*/ 1149979 w 12192001"/>
              <a:gd name="connsiteY206" fmla="*/ 1938041 h 2344739"/>
              <a:gd name="connsiteX207" fmla="*/ 858269 w 12192001"/>
              <a:gd name="connsiteY207" fmla="*/ 1928608 h 2344739"/>
              <a:gd name="connsiteX208" fmla="*/ 837540 w 12192001"/>
              <a:gd name="connsiteY208" fmla="*/ 1929821 h 2344739"/>
              <a:gd name="connsiteX209" fmla="*/ 816809 w 12192001"/>
              <a:gd name="connsiteY209" fmla="*/ 1927857 h 2344739"/>
              <a:gd name="connsiteX210" fmla="*/ 811506 w 12192001"/>
              <a:gd name="connsiteY210" fmla="*/ 1930751 h 2344739"/>
              <a:gd name="connsiteX211" fmla="*/ 797041 w 12192001"/>
              <a:gd name="connsiteY211" fmla="*/ 1930446 h 2344739"/>
              <a:gd name="connsiteX212" fmla="*/ 767901 w 12192001"/>
              <a:gd name="connsiteY212" fmla="*/ 1932653 h 2344739"/>
              <a:gd name="connsiteX213" fmla="*/ 763053 w 12192001"/>
              <a:gd name="connsiteY213" fmla="*/ 1930432 h 2344739"/>
              <a:gd name="connsiteX214" fmla="*/ 720047 w 12192001"/>
              <a:gd name="connsiteY214" fmla="*/ 1929661 h 2344739"/>
              <a:gd name="connsiteX215" fmla="*/ 719742 w 12192001"/>
              <a:gd name="connsiteY215" fmla="*/ 1928399 h 2344739"/>
              <a:gd name="connsiteX216" fmla="*/ 708875 w 12192001"/>
              <a:gd name="connsiteY216" fmla="*/ 1922722 h 2344739"/>
              <a:gd name="connsiteX217" fmla="*/ 596792 w 12192001"/>
              <a:gd name="connsiteY217" fmla="*/ 1879864 h 2344739"/>
              <a:gd name="connsiteX218" fmla="*/ 578535 w 12192001"/>
              <a:gd name="connsiteY218" fmla="*/ 1877212 h 2344739"/>
              <a:gd name="connsiteX219" fmla="*/ 571717 w 12192001"/>
              <a:gd name="connsiteY219" fmla="*/ 1877401 h 2344739"/>
              <a:gd name="connsiteX220" fmla="*/ 445099 w 12192001"/>
              <a:gd name="connsiteY220" fmla="*/ 1839371 h 2344739"/>
              <a:gd name="connsiteX221" fmla="*/ 404015 w 12192001"/>
              <a:gd name="connsiteY221" fmla="*/ 1833548 h 2344739"/>
              <a:gd name="connsiteX222" fmla="*/ 292435 w 12192001"/>
              <a:gd name="connsiteY222" fmla="*/ 1812852 h 2344739"/>
              <a:gd name="connsiteX223" fmla="*/ 118381 w 12192001"/>
              <a:gd name="connsiteY223" fmla="*/ 1761047 h 2344739"/>
              <a:gd name="connsiteX224" fmla="*/ 15526 w 12192001"/>
              <a:gd name="connsiteY224" fmla="*/ 1758191 h 2344739"/>
              <a:gd name="connsiteX225" fmla="*/ 2 w 12192001"/>
              <a:gd name="connsiteY225" fmla="*/ 1752722 h 2344739"/>
              <a:gd name="connsiteX226" fmla="*/ 1 w 12192001"/>
              <a:gd name="connsiteY226" fmla="*/ 762497 h 2344739"/>
              <a:gd name="connsiteX227" fmla="*/ 0 w 12192001"/>
              <a:gd name="connsiteY227" fmla="*/ 762497 h 2344739"/>
              <a:gd name="connsiteX228" fmla="*/ 0 w 12192001"/>
              <a:gd name="connsiteY228" fmla="*/ 222213 h 2344739"/>
              <a:gd name="connsiteX229" fmla="*/ 0 w 12192001"/>
              <a:gd name="connsiteY229"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05669 w 12192001"/>
              <a:gd name="connsiteY25" fmla="*/ 1033623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13812 w 12192001"/>
              <a:gd name="connsiteY69" fmla="*/ 1919069 h 2344739"/>
              <a:gd name="connsiteX70" fmla="*/ 9053453 w 12192001"/>
              <a:gd name="connsiteY70" fmla="*/ 1910755 h 2344739"/>
              <a:gd name="connsiteX71" fmla="*/ 9005486 w 12192001"/>
              <a:gd name="connsiteY71" fmla="*/ 1914040 h 2344739"/>
              <a:gd name="connsiteX72" fmla="*/ 9005201 w 12192001"/>
              <a:gd name="connsiteY72" fmla="*/ 1913800 h 2344739"/>
              <a:gd name="connsiteX73" fmla="*/ 8996232 w 12192001"/>
              <a:gd name="connsiteY73" fmla="*/ 1915011 h 2344739"/>
              <a:gd name="connsiteX74" fmla="*/ 8990394 w 12192001"/>
              <a:gd name="connsiteY74" fmla="*/ 1917072 h 2344739"/>
              <a:gd name="connsiteX75" fmla="*/ 8974337 w 12192001"/>
              <a:gd name="connsiteY75" fmla="*/ 1920298 h 2344739"/>
              <a:gd name="connsiteX76" fmla="*/ 8968011 w 12192001"/>
              <a:gd name="connsiteY76" fmla="*/ 1919598 h 2344739"/>
              <a:gd name="connsiteX77" fmla="*/ 8963048 w 12192001"/>
              <a:gd name="connsiteY77" fmla="*/ 1917373 h 2344739"/>
              <a:gd name="connsiteX78" fmla="*/ 8928988 w 12192001"/>
              <a:gd name="connsiteY78" fmla="*/ 1914185 h 2344739"/>
              <a:gd name="connsiteX79" fmla="*/ 8752444 w 12192001"/>
              <a:gd name="connsiteY79" fmla="*/ 1933417 h 2344739"/>
              <a:gd name="connsiteX80" fmla="*/ 8707847 w 12192001"/>
              <a:gd name="connsiteY80" fmla="*/ 1935518 h 2344739"/>
              <a:gd name="connsiteX81" fmla="*/ 8596071 w 12192001"/>
              <a:gd name="connsiteY81" fmla="*/ 1944090 h 2344739"/>
              <a:gd name="connsiteX82" fmla="*/ 8525230 w 12192001"/>
              <a:gd name="connsiteY82" fmla="*/ 1929248 h 2344739"/>
              <a:gd name="connsiteX83" fmla="*/ 8510983 w 12192001"/>
              <a:gd name="connsiteY83" fmla="*/ 1935163 h 2344739"/>
              <a:gd name="connsiteX84" fmla="*/ 8506167 w 12192001"/>
              <a:gd name="connsiteY84" fmla="*/ 1938164 h 2344739"/>
              <a:gd name="connsiteX85" fmla="*/ 8497968 w 12192001"/>
              <a:gd name="connsiteY85" fmla="*/ 1940902 h 2344739"/>
              <a:gd name="connsiteX86" fmla="*/ 8497594 w 12192001"/>
              <a:gd name="connsiteY86" fmla="*/ 1940723 h 2344739"/>
              <a:gd name="connsiteX87" fmla="*/ 8490249 w 12192001"/>
              <a:gd name="connsiteY87" fmla="*/ 1943773 h 2344739"/>
              <a:gd name="connsiteX88" fmla="*/ 8367182 w 12192001"/>
              <a:gd name="connsiteY88" fmla="*/ 1957815 h 2344739"/>
              <a:gd name="connsiteX89" fmla="*/ 8353799 w 12192001"/>
              <a:gd name="connsiteY89" fmla="*/ 1958009 h 2344739"/>
              <a:gd name="connsiteX90" fmla="*/ 8352373 w 12192001"/>
              <a:gd name="connsiteY90" fmla="*/ 1957169 h 2344739"/>
              <a:gd name="connsiteX91" fmla="*/ 8320104 w 12192001"/>
              <a:gd name="connsiteY91" fmla="*/ 1974587 h 2344739"/>
              <a:gd name="connsiteX92" fmla="*/ 8314433 w 12192001"/>
              <a:gd name="connsiteY92" fmla="*/ 1974913 h 2344739"/>
              <a:gd name="connsiteX93" fmla="*/ 8295174 w 12192001"/>
              <a:gd name="connsiteY93" fmla="*/ 1988808 h 2344739"/>
              <a:gd name="connsiteX94" fmla="*/ 8284276 w 12192001"/>
              <a:gd name="connsiteY94" fmla="*/ 1994631 h 2344739"/>
              <a:gd name="connsiteX95" fmla="*/ 8283150 w 12192001"/>
              <a:gd name="connsiteY95" fmla="*/ 1999074 h 2344739"/>
              <a:gd name="connsiteX96" fmla="*/ 8266076 w 12192001"/>
              <a:gd name="connsiteY96" fmla="*/ 2006249 h 2344739"/>
              <a:gd name="connsiteX97" fmla="*/ 8263377 w 12192001"/>
              <a:gd name="connsiteY97" fmla="*/ 2006019 h 2344739"/>
              <a:gd name="connsiteX98" fmla="*/ 8252033 w 12192001"/>
              <a:gd name="connsiteY98" fmla="*/ 2015862 h 2344739"/>
              <a:gd name="connsiteX99" fmla="*/ 8245834 w 12192001"/>
              <a:gd name="connsiteY99" fmla="*/ 2028854 h 2344739"/>
              <a:gd name="connsiteX100" fmla="*/ 8090272 w 12192001"/>
              <a:gd name="connsiteY100" fmla="*/ 2075015 h 2344739"/>
              <a:gd name="connsiteX101" fmla="*/ 7905407 w 12192001"/>
              <a:gd name="connsiteY101" fmla="*/ 2116988 h 2344739"/>
              <a:gd name="connsiteX102" fmla="*/ 7718745 w 12192001"/>
              <a:gd name="connsiteY102" fmla="*/ 2142703 h 2344739"/>
              <a:gd name="connsiteX103" fmla="*/ 7614347 w 12192001"/>
              <a:gd name="connsiteY103" fmla="*/ 2139232 h 2344739"/>
              <a:gd name="connsiteX104" fmla="*/ 7527543 w 12192001"/>
              <a:gd name="connsiteY104" fmla="*/ 2145060 h 2344739"/>
              <a:gd name="connsiteX105" fmla="*/ 7519571 w 12192001"/>
              <a:gd name="connsiteY105" fmla="*/ 2147613 h 2344739"/>
              <a:gd name="connsiteX106" fmla="*/ 7507411 w 12192001"/>
              <a:gd name="connsiteY106" fmla="*/ 2148948 h 2344739"/>
              <a:gd name="connsiteX107" fmla="*/ 7507040 w 12192001"/>
              <a:gd name="connsiteY107" fmla="*/ 2148621 h 2344739"/>
              <a:gd name="connsiteX108" fmla="*/ 7495795 w 12192001"/>
              <a:gd name="connsiteY108" fmla="*/ 2150573 h 2344739"/>
              <a:gd name="connsiteX109" fmla="*/ 7405391 w 12192001"/>
              <a:gd name="connsiteY109" fmla="*/ 2142468 h 2344739"/>
              <a:gd name="connsiteX110" fmla="*/ 7218559 w 12192001"/>
              <a:gd name="connsiteY110" fmla="*/ 2156680 h 2344739"/>
              <a:gd name="connsiteX111" fmla="*/ 7201101 w 12192001"/>
              <a:gd name="connsiteY111" fmla="*/ 2161230 h 2344739"/>
              <a:gd name="connsiteX112" fmla="*/ 7197004 w 12192001"/>
              <a:gd name="connsiteY112" fmla="*/ 2166588 h 2344739"/>
              <a:gd name="connsiteX113" fmla="*/ 7170808 w 12192001"/>
              <a:gd name="connsiteY113" fmla="*/ 2171236 h 2344739"/>
              <a:gd name="connsiteX114" fmla="*/ 7096988 w 12192001"/>
              <a:gd name="connsiteY114" fmla="*/ 2183464 h 2344739"/>
              <a:gd name="connsiteX115" fmla="*/ 7018496 w 12192001"/>
              <a:gd name="connsiteY115" fmla="*/ 2183090 h 2344739"/>
              <a:gd name="connsiteX116" fmla="*/ 6904146 w 12192001"/>
              <a:gd name="connsiteY116" fmla="*/ 2212596 h 2344739"/>
              <a:gd name="connsiteX117" fmla="*/ 6708222 w 12192001"/>
              <a:gd name="connsiteY117" fmla="*/ 2240551 h 2344739"/>
              <a:gd name="connsiteX118" fmla="*/ 6549454 w 12192001"/>
              <a:gd name="connsiteY118" fmla="*/ 2269327 h 2344739"/>
              <a:gd name="connsiteX119" fmla="*/ 6317560 w 12192001"/>
              <a:gd name="connsiteY119" fmla="*/ 2316127 h 2344739"/>
              <a:gd name="connsiteX120" fmla="*/ 6168674 w 12192001"/>
              <a:gd name="connsiteY120" fmla="*/ 2318214 h 2344739"/>
              <a:gd name="connsiteX121" fmla="*/ 6073848 w 12192001"/>
              <a:gd name="connsiteY121" fmla="*/ 2338676 h 2344739"/>
              <a:gd name="connsiteX122" fmla="*/ 6068529 w 12192001"/>
              <a:gd name="connsiteY122" fmla="*/ 2337139 h 2344739"/>
              <a:gd name="connsiteX123" fmla="*/ 6048638 w 12192001"/>
              <a:gd name="connsiteY123" fmla="*/ 2337822 h 2344739"/>
              <a:gd name="connsiteX124" fmla="*/ 6041285 w 12192001"/>
              <a:gd name="connsiteY124" fmla="*/ 2329473 h 2344739"/>
              <a:gd name="connsiteX125" fmla="*/ 6010090 w 12192001"/>
              <a:gd name="connsiteY125" fmla="*/ 2324380 h 2344739"/>
              <a:gd name="connsiteX126" fmla="*/ 5957375 w 12192001"/>
              <a:gd name="connsiteY126" fmla="*/ 2328024 h 2344739"/>
              <a:gd name="connsiteX127" fmla="*/ 5758919 w 12192001"/>
              <a:gd name="connsiteY127" fmla="*/ 2343716 h 2344739"/>
              <a:gd name="connsiteX128" fmla="*/ 5626960 w 12192001"/>
              <a:gd name="connsiteY128" fmla="*/ 2344739 h 2344739"/>
              <a:gd name="connsiteX129" fmla="*/ 5470906 w 12192001"/>
              <a:gd name="connsiteY129" fmla="*/ 2330719 h 2344739"/>
              <a:gd name="connsiteX130" fmla="*/ 5432761 w 12192001"/>
              <a:gd name="connsiteY130" fmla="*/ 2319466 h 2344739"/>
              <a:gd name="connsiteX131" fmla="*/ 5381669 w 12192001"/>
              <a:gd name="connsiteY131" fmla="*/ 2301764 h 2344739"/>
              <a:gd name="connsiteX132" fmla="*/ 5261764 w 12192001"/>
              <a:gd name="connsiteY132" fmla="*/ 2281347 h 2344739"/>
              <a:gd name="connsiteX133" fmla="*/ 5222961 w 12192001"/>
              <a:gd name="connsiteY133" fmla="*/ 2270223 h 2344739"/>
              <a:gd name="connsiteX134" fmla="*/ 5174660 w 12192001"/>
              <a:gd name="connsiteY134" fmla="*/ 2267233 h 2344739"/>
              <a:gd name="connsiteX135" fmla="*/ 5156554 w 12192001"/>
              <a:gd name="connsiteY135" fmla="*/ 2260010 h 2344739"/>
              <a:gd name="connsiteX136" fmla="*/ 5142599 w 12192001"/>
              <a:gd name="connsiteY136" fmla="*/ 2256610 h 2344739"/>
              <a:gd name="connsiteX137" fmla="*/ 5139596 w 12192001"/>
              <a:gd name="connsiteY137" fmla="*/ 2254509 h 2344739"/>
              <a:gd name="connsiteX138" fmla="*/ 5121659 w 12192001"/>
              <a:gd name="connsiteY138" fmla="*/ 2243656 h 2344739"/>
              <a:gd name="connsiteX139" fmla="*/ 5065790 w 12192001"/>
              <a:gd name="connsiteY139" fmla="*/ 2250227 h 2344739"/>
              <a:gd name="connsiteX140" fmla="*/ 5011514 w 12192001"/>
              <a:gd name="connsiteY140" fmla="*/ 2233846 h 2344739"/>
              <a:gd name="connsiteX141" fmla="*/ 4840441 w 12192001"/>
              <a:gd name="connsiteY141" fmla="*/ 2209829 h 2344739"/>
              <a:gd name="connsiteX142" fmla="*/ 4762447 w 12192001"/>
              <a:gd name="connsiteY142" fmla="*/ 2182061 h 2344739"/>
              <a:gd name="connsiteX143" fmla="*/ 4723186 w 12192001"/>
              <a:gd name="connsiteY143" fmla="*/ 2173047 h 2344739"/>
              <a:gd name="connsiteX144" fmla="*/ 4721176 w 12192001"/>
              <a:gd name="connsiteY144" fmla="*/ 2172298 h 2344739"/>
              <a:gd name="connsiteX145" fmla="*/ 4722111 w 12192001"/>
              <a:gd name="connsiteY145" fmla="*/ 2172087 h 2344739"/>
              <a:gd name="connsiteX146" fmla="*/ 4717202 w 12192001"/>
              <a:gd name="connsiteY146" fmla="*/ 2170817 h 2344739"/>
              <a:gd name="connsiteX147" fmla="*/ 4721176 w 12192001"/>
              <a:gd name="connsiteY147" fmla="*/ 2172298 h 2344739"/>
              <a:gd name="connsiteX148" fmla="*/ 4715526 w 12192001"/>
              <a:gd name="connsiteY148" fmla="*/ 2173573 h 2344739"/>
              <a:gd name="connsiteX149" fmla="*/ 4515814 w 12192001"/>
              <a:gd name="connsiteY149" fmla="*/ 2163671 h 2344739"/>
              <a:gd name="connsiteX150" fmla="*/ 4428543 w 12192001"/>
              <a:gd name="connsiteY150" fmla="*/ 2153020 h 2344739"/>
              <a:gd name="connsiteX151" fmla="*/ 4362875 w 12192001"/>
              <a:gd name="connsiteY151" fmla="*/ 2151674 h 2344739"/>
              <a:gd name="connsiteX152" fmla="*/ 4316966 w 12192001"/>
              <a:gd name="connsiteY152" fmla="*/ 2158289 h 2344739"/>
              <a:gd name="connsiteX153" fmla="*/ 4315110 w 12192001"/>
              <a:gd name="connsiteY153" fmla="*/ 2156948 h 2344739"/>
              <a:gd name="connsiteX154" fmla="*/ 4295144 w 12192001"/>
              <a:gd name="connsiteY154" fmla="*/ 2155069 h 2344739"/>
              <a:gd name="connsiteX155" fmla="*/ 4290064 w 12192001"/>
              <a:gd name="connsiteY155" fmla="*/ 2157986 h 2344739"/>
              <a:gd name="connsiteX156" fmla="*/ 4276142 w 12192001"/>
              <a:gd name="connsiteY156" fmla="*/ 2157740 h 2344739"/>
              <a:gd name="connsiteX157" fmla="*/ 4248117 w 12192001"/>
              <a:gd name="connsiteY157" fmla="*/ 2160064 h 2344739"/>
              <a:gd name="connsiteX158" fmla="*/ 4202051 w 12192001"/>
              <a:gd name="connsiteY158" fmla="*/ 2157269 h 2344739"/>
              <a:gd name="connsiteX159" fmla="*/ 4201745 w 12192001"/>
              <a:gd name="connsiteY159" fmla="*/ 2156010 h 2344739"/>
              <a:gd name="connsiteX160" fmla="*/ 4191248 w 12192001"/>
              <a:gd name="connsiteY160" fmla="*/ 2150376 h 2344739"/>
              <a:gd name="connsiteX161" fmla="*/ 4142745 w 12192001"/>
              <a:gd name="connsiteY161" fmla="*/ 2134511 h 2344739"/>
              <a:gd name="connsiteX162" fmla="*/ 4083097 w 12192001"/>
              <a:gd name="connsiteY162" fmla="*/ 2107978 h 2344739"/>
              <a:gd name="connsiteX163" fmla="*/ 4074546 w 12192001"/>
              <a:gd name="connsiteY163" fmla="*/ 2107143 h 2344739"/>
              <a:gd name="connsiteX164" fmla="*/ 4074427 w 12192001"/>
              <a:gd name="connsiteY164" fmla="*/ 2106844 h 2344739"/>
              <a:gd name="connsiteX165" fmla="*/ 4065510 w 12192001"/>
              <a:gd name="connsiteY165" fmla="*/ 2105400 h 2344739"/>
              <a:gd name="connsiteX166" fmla="*/ 4058954 w 12192001"/>
              <a:gd name="connsiteY166" fmla="*/ 2105618 h 2344739"/>
              <a:gd name="connsiteX167" fmla="*/ 4042364 w 12192001"/>
              <a:gd name="connsiteY167" fmla="*/ 2103997 h 2344739"/>
              <a:gd name="connsiteX168" fmla="*/ 4036997 w 12192001"/>
              <a:gd name="connsiteY168" fmla="*/ 2101563 h 2344739"/>
              <a:gd name="connsiteX169" fmla="*/ 4035363 w 12192001"/>
              <a:gd name="connsiteY169" fmla="*/ 2097896 h 2344739"/>
              <a:gd name="connsiteX170" fmla="*/ 4033778 w 12192001"/>
              <a:gd name="connsiteY170" fmla="*/ 2098131 h 2344739"/>
              <a:gd name="connsiteX171" fmla="*/ 4004538 w 12192001"/>
              <a:gd name="connsiteY171" fmla="*/ 2085563 h 2344739"/>
              <a:gd name="connsiteX172" fmla="*/ 3936846 w 12192001"/>
              <a:gd name="connsiteY172" fmla="*/ 2068106 h 2344739"/>
              <a:gd name="connsiteX173" fmla="*/ 3897275 w 12192001"/>
              <a:gd name="connsiteY173" fmla="*/ 2062451 h 2344739"/>
              <a:gd name="connsiteX174" fmla="*/ 3789760 w 12192001"/>
              <a:gd name="connsiteY174" fmla="*/ 2042213 h 2344739"/>
              <a:gd name="connsiteX175" fmla="*/ 3682513 w 12192001"/>
              <a:gd name="connsiteY175" fmla="*/ 2018290 h 2344739"/>
              <a:gd name="connsiteX176" fmla="*/ 3610035 w 12192001"/>
              <a:gd name="connsiteY176" fmla="*/ 1986019 h 2344739"/>
              <a:gd name="connsiteX177" fmla="*/ 3603855 w 12192001"/>
              <a:gd name="connsiteY177" fmla="*/ 1987381 h 2344739"/>
              <a:gd name="connsiteX178" fmla="*/ 3594736 w 12192001"/>
              <a:gd name="connsiteY178" fmla="*/ 1987545 h 2344739"/>
              <a:gd name="connsiteX179" fmla="*/ 3594501 w 12192001"/>
              <a:gd name="connsiteY179" fmla="*/ 1987276 h 2344739"/>
              <a:gd name="connsiteX180" fmla="*/ 3585978 w 12192001"/>
              <a:gd name="connsiteY180" fmla="*/ 1987966 h 2344739"/>
              <a:gd name="connsiteX181" fmla="*/ 3536135 w 12192001"/>
              <a:gd name="connsiteY181" fmla="*/ 1978267 h 2344739"/>
              <a:gd name="connsiteX182" fmla="*/ 3473223 w 12192001"/>
              <a:gd name="connsiteY182" fmla="*/ 1974606 h 2344739"/>
              <a:gd name="connsiteX183" fmla="*/ 3400728 w 12192001"/>
              <a:gd name="connsiteY183" fmla="*/ 1962558 h 2344739"/>
              <a:gd name="connsiteX184" fmla="*/ 3363888 w 12192001"/>
              <a:gd name="connsiteY184" fmla="*/ 1979510 h 2344739"/>
              <a:gd name="connsiteX185" fmla="*/ 3344026 w 12192001"/>
              <a:gd name="connsiteY185" fmla="*/ 1981192 h 2344739"/>
              <a:gd name="connsiteX186" fmla="*/ 3341698 w 12192001"/>
              <a:gd name="connsiteY186" fmla="*/ 1980217 h 2344739"/>
              <a:gd name="connsiteX187" fmla="*/ 3262356 w 12192001"/>
              <a:gd name="connsiteY187" fmla="*/ 1986094 h 2344739"/>
              <a:gd name="connsiteX188" fmla="*/ 3142556 w 12192001"/>
              <a:gd name="connsiteY188" fmla="*/ 1993869 h 2344739"/>
              <a:gd name="connsiteX189" fmla="*/ 3030291 w 12192001"/>
              <a:gd name="connsiteY189" fmla="*/ 1996512 h 2344739"/>
              <a:gd name="connsiteX190" fmla="*/ 2781569 w 12192001"/>
              <a:gd name="connsiteY190" fmla="*/ 2018333 h 2344739"/>
              <a:gd name="connsiteX191" fmla="*/ 2646527 w 12192001"/>
              <a:gd name="connsiteY191" fmla="*/ 2028869 h 2344739"/>
              <a:gd name="connsiteX192" fmla="*/ 2568028 w 12192001"/>
              <a:gd name="connsiteY192" fmla="*/ 2002628 h 2344739"/>
              <a:gd name="connsiteX193" fmla="*/ 2443255 w 12192001"/>
              <a:gd name="connsiteY193" fmla="*/ 2016529 h 2344739"/>
              <a:gd name="connsiteX194" fmla="*/ 2315112 w 12192001"/>
              <a:gd name="connsiteY194" fmla="*/ 2024996 h 2344739"/>
              <a:gd name="connsiteX195" fmla="*/ 2208578 w 12192001"/>
              <a:gd name="connsiteY195" fmla="*/ 2019763 h 2344739"/>
              <a:gd name="connsiteX196" fmla="*/ 2094665 w 12192001"/>
              <a:gd name="connsiteY196" fmla="*/ 2003052 h 2344739"/>
              <a:gd name="connsiteX197" fmla="*/ 1997356 w 12192001"/>
              <a:gd name="connsiteY197" fmla="*/ 1995032 h 2344739"/>
              <a:gd name="connsiteX198" fmla="*/ 1928172 w 12192001"/>
              <a:gd name="connsiteY198" fmla="*/ 2016977 h 2344739"/>
              <a:gd name="connsiteX199" fmla="*/ 1921650 w 12192001"/>
              <a:gd name="connsiteY199" fmla="*/ 2012146 h 2344739"/>
              <a:gd name="connsiteX200" fmla="*/ 1873080 w 12192001"/>
              <a:gd name="connsiteY200" fmla="*/ 2013741 h 2344739"/>
              <a:gd name="connsiteX201" fmla="*/ 1786655 w 12192001"/>
              <a:gd name="connsiteY201" fmla="*/ 2041363 h 2344739"/>
              <a:gd name="connsiteX202" fmla="*/ 1738204 w 12192001"/>
              <a:gd name="connsiteY202" fmla="*/ 2036312 h 2344739"/>
              <a:gd name="connsiteX203" fmla="*/ 1675071 w 12192001"/>
              <a:gd name="connsiteY203" fmla="*/ 2019963 h 2344739"/>
              <a:gd name="connsiteX204" fmla="*/ 1608669 w 12192001"/>
              <a:gd name="connsiteY204" fmla="*/ 2013066 h 2344739"/>
              <a:gd name="connsiteX205" fmla="*/ 1496110 w 12192001"/>
              <a:gd name="connsiteY205" fmla="*/ 1987476 h 2344739"/>
              <a:gd name="connsiteX206" fmla="*/ 1149979 w 12192001"/>
              <a:gd name="connsiteY206" fmla="*/ 1938041 h 2344739"/>
              <a:gd name="connsiteX207" fmla="*/ 858269 w 12192001"/>
              <a:gd name="connsiteY207" fmla="*/ 1928608 h 2344739"/>
              <a:gd name="connsiteX208" fmla="*/ 837540 w 12192001"/>
              <a:gd name="connsiteY208" fmla="*/ 1929821 h 2344739"/>
              <a:gd name="connsiteX209" fmla="*/ 816809 w 12192001"/>
              <a:gd name="connsiteY209" fmla="*/ 1927857 h 2344739"/>
              <a:gd name="connsiteX210" fmla="*/ 811506 w 12192001"/>
              <a:gd name="connsiteY210" fmla="*/ 1930751 h 2344739"/>
              <a:gd name="connsiteX211" fmla="*/ 797041 w 12192001"/>
              <a:gd name="connsiteY211" fmla="*/ 1930446 h 2344739"/>
              <a:gd name="connsiteX212" fmla="*/ 767901 w 12192001"/>
              <a:gd name="connsiteY212" fmla="*/ 1932653 h 2344739"/>
              <a:gd name="connsiteX213" fmla="*/ 763053 w 12192001"/>
              <a:gd name="connsiteY213" fmla="*/ 1930432 h 2344739"/>
              <a:gd name="connsiteX214" fmla="*/ 720047 w 12192001"/>
              <a:gd name="connsiteY214" fmla="*/ 1929661 h 2344739"/>
              <a:gd name="connsiteX215" fmla="*/ 719742 w 12192001"/>
              <a:gd name="connsiteY215" fmla="*/ 1928399 h 2344739"/>
              <a:gd name="connsiteX216" fmla="*/ 708875 w 12192001"/>
              <a:gd name="connsiteY216" fmla="*/ 1922722 h 2344739"/>
              <a:gd name="connsiteX217" fmla="*/ 596792 w 12192001"/>
              <a:gd name="connsiteY217" fmla="*/ 1879864 h 2344739"/>
              <a:gd name="connsiteX218" fmla="*/ 578535 w 12192001"/>
              <a:gd name="connsiteY218" fmla="*/ 1877212 h 2344739"/>
              <a:gd name="connsiteX219" fmla="*/ 571717 w 12192001"/>
              <a:gd name="connsiteY219" fmla="*/ 1877401 h 2344739"/>
              <a:gd name="connsiteX220" fmla="*/ 445099 w 12192001"/>
              <a:gd name="connsiteY220" fmla="*/ 1839371 h 2344739"/>
              <a:gd name="connsiteX221" fmla="*/ 404015 w 12192001"/>
              <a:gd name="connsiteY221" fmla="*/ 1833548 h 2344739"/>
              <a:gd name="connsiteX222" fmla="*/ 292435 w 12192001"/>
              <a:gd name="connsiteY222" fmla="*/ 1812852 h 2344739"/>
              <a:gd name="connsiteX223" fmla="*/ 118381 w 12192001"/>
              <a:gd name="connsiteY223" fmla="*/ 1761047 h 2344739"/>
              <a:gd name="connsiteX224" fmla="*/ 15526 w 12192001"/>
              <a:gd name="connsiteY224" fmla="*/ 1758191 h 2344739"/>
              <a:gd name="connsiteX225" fmla="*/ 2 w 12192001"/>
              <a:gd name="connsiteY225" fmla="*/ 1752722 h 2344739"/>
              <a:gd name="connsiteX226" fmla="*/ 1 w 12192001"/>
              <a:gd name="connsiteY226" fmla="*/ 762497 h 2344739"/>
              <a:gd name="connsiteX227" fmla="*/ 0 w 12192001"/>
              <a:gd name="connsiteY227" fmla="*/ 762497 h 2344739"/>
              <a:gd name="connsiteX228" fmla="*/ 0 w 12192001"/>
              <a:gd name="connsiteY228" fmla="*/ 222213 h 2344739"/>
              <a:gd name="connsiteX229" fmla="*/ 0 w 12192001"/>
              <a:gd name="connsiteY229"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05669 w 12192001"/>
              <a:gd name="connsiteY25" fmla="*/ 1033623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13812 w 12192001"/>
              <a:gd name="connsiteY69" fmla="*/ 1919069 h 2344739"/>
              <a:gd name="connsiteX70" fmla="*/ 9053453 w 12192001"/>
              <a:gd name="connsiteY70" fmla="*/ 1910755 h 2344739"/>
              <a:gd name="connsiteX71" fmla="*/ 9005486 w 12192001"/>
              <a:gd name="connsiteY71" fmla="*/ 1914040 h 2344739"/>
              <a:gd name="connsiteX72" fmla="*/ 9005201 w 12192001"/>
              <a:gd name="connsiteY72" fmla="*/ 1913800 h 2344739"/>
              <a:gd name="connsiteX73" fmla="*/ 8996232 w 12192001"/>
              <a:gd name="connsiteY73" fmla="*/ 1915011 h 2344739"/>
              <a:gd name="connsiteX74" fmla="*/ 8990394 w 12192001"/>
              <a:gd name="connsiteY74" fmla="*/ 1917072 h 2344739"/>
              <a:gd name="connsiteX75" fmla="*/ 8974337 w 12192001"/>
              <a:gd name="connsiteY75" fmla="*/ 1920298 h 2344739"/>
              <a:gd name="connsiteX76" fmla="*/ 8968011 w 12192001"/>
              <a:gd name="connsiteY76" fmla="*/ 1919598 h 2344739"/>
              <a:gd name="connsiteX77" fmla="*/ 8963048 w 12192001"/>
              <a:gd name="connsiteY77" fmla="*/ 1917373 h 2344739"/>
              <a:gd name="connsiteX78" fmla="*/ 8928988 w 12192001"/>
              <a:gd name="connsiteY78" fmla="*/ 1914185 h 2344739"/>
              <a:gd name="connsiteX79" fmla="*/ 8752444 w 12192001"/>
              <a:gd name="connsiteY79" fmla="*/ 1933417 h 2344739"/>
              <a:gd name="connsiteX80" fmla="*/ 8707847 w 12192001"/>
              <a:gd name="connsiteY80" fmla="*/ 1935518 h 2344739"/>
              <a:gd name="connsiteX81" fmla="*/ 8596071 w 12192001"/>
              <a:gd name="connsiteY81" fmla="*/ 1944090 h 2344739"/>
              <a:gd name="connsiteX82" fmla="*/ 8525230 w 12192001"/>
              <a:gd name="connsiteY82" fmla="*/ 1929248 h 2344739"/>
              <a:gd name="connsiteX83" fmla="*/ 8510983 w 12192001"/>
              <a:gd name="connsiteY83" fmla="*/ 1935163 h 2344739"/>
              <a:gd name="connsiteX84" fmla="*/ 8506167 w 12192001"/>
              <a:gd name="connsiteY84" fmla="*/ 1938164 h 2344739"/>
              <a:gd name="connsiteX85" fmla="*/ 8497968 w 12192001"/>
              <a:gd name="connsiteY85" fmla="*/ 1940902 h 2344739"/>
              <a:gd name="connsiteX86" fmla="*/ 8497594 w 12192001"/>
              <a:gd name="connsiteY86" fmla="*/ 1940723 h 2344739"/>
              <a:gd name="connsiteX87" fmla="*/ 8490249 w 12192001"/>
              <a:gd name="connsiteY87" fmla="*/ 1943773 h 2344739"/>
              <a:gd name="connsiteX88" fmla="*/ 8367182 w 12192001"/>
              <a:gd name="connsiteY88" fmla="*/ 1957815 h 2344739"/>
              <a:gd name="connsiteX89" fmla="*/ 8353799 w 12192001"/>
              <a:gd name="connsiteY89" fmla="*/ 1958009 h 2344739"/>
              <a:gd name="connsiteX90" fmla="*/ 8352373 w 12192001"/>
              <a:gd name="connsiteY90" fmla="*/ 1957169 h 2344739"/>
              <a:gd name="connsiteX91" fmla="*/ 8320104 w 12192001"/>
              <a:gd name="connsiteY91" fmla="*/ 1974587 h 2344739"/>
              <a:gd name="connsiteX92" fmla="*/ 8314433 w 12192001"/>
              <a:gd name="connsiteY92" fmla="*/ 1974913 h 2344739"/>
              <a:gd name="connsiteX93" fmla="*/ 8295174 w 12192001"/>
              <a:gd name="connsiteY93" fmla="*/ 1988808 h 2344739"/>
              <a:gd name="connsiteX94" fmla="*/ 8284276 w 12192001"/>
              <a:gd name="connsiteY94" fmla="*/ 1994631 h 2344739"/>
              <a:gd name="connsiteX95" fmla="*/ 8283150 w 12192001"/>
              <a:gd name="connsiteY95" fmla="*/ 1999074 h 2344739"/>
              <a:gd name="connsiteX96" fmla="*/ 8266076 w 12192001"/>
              <a:gd name="connsiteY96" fmla="*/ 2006249 h 2344739"/>
              <a:gd name="connsiteX97" fmla="*/ 8263377 w 12192001"/>
              <a:gd name="connsiteY97" fmla="*/ 2006019 h 2344739"/>
              <a:gd name="connsiteX98" fmla="*/ 8252033 w 12192001"/>
              <a:gd name="connsiteY98" fmla="*/ 2015862 h 2344739"/>
              <a:gd name="connsiteX99" fmla="*/ 8245834 w 12192001"/>
              <a:gd name="connsiteY99" fmla="*/ 2028854 h 2344739"/>
              <a:gd name="connsiteX100" fmla="*/ 8090272 w 12192001"/>
              <a:gd name="connsiteY100" fmla="*/ 2075015 h 2344739"/>
              <a:gd name="connsiteX101" fmla="*/ 7905407 w 12192001"/>
              <a:gd name="connsiteY101" fmla="*/ 2116988 h 2344739"/>
              <a:gd name="connsiteX102" fmla="*/ 7718745 w 12192001"/>
              <a:gd name="connsiteY102" fmla="*/ 2142703 h 2344739"/>
              <a:gd name="connsiteX103" fmla="*/ 7614347 w 12192001"/>
              <a:gd name="connsiteY103" fmla="*/ 2139232 h 2344739"/>
              <a:gd name="connsiteX104" fmla="*/ 7527543 w 12192001"/>
              <a:gd name="connsiteY104" fmla="*/ 2145060 h 2344739"/>
              <a:gd name="connsiteX105" fmla="*/ 7519571 w 12192001"/>
              <a:gd name="connsiteY105" fmla="*/ 2147613 h 2344739"/>
              <a:gd name="connsiteX106" fmla="*/ 7507411 w 12192001"/>
              <a:gd name="connsiteY106" fmla="*/ 2148948 h 2344739"/>
              <a:gd name="connsiteX107" fmla="*/ 7507040 w 12192001"/>
              <a:gd name="connsiteY107" fmla="*/ 2148621 h 2344739"/>
              <a:gd name="connsiteX108" fmla="*/ 7495795 w 12192001"/>
              <a:gd name="connsiteY108" fmla="*/ 2150573 h 2344739"/>
              <a:gd name="connsiteX109" fmla="*/ 7405391 w 12192001"/>
              <a:gd name="connsiteY109" fmla="*/ 2142468 h 2344739"/>
              <a:gd name="connsiteX110" fmla="*/ 7218559 w 12192001"/>
              <a:gd name="connsiteY110" fmla="*/ 2156680 h 2344739"/>
              <a:gd name="connsiteX111" fmla="*/ 7201101 w 12192001"/>
              <a:gd name="connsiteY111" fmla="*/ 2161230 h 2344739"/>
              <a:gd name="connsiteX112" fmla="*/ 7197004 w 12192001"/>
              <a:gd name="connsiteY112" fmla="*/ 2166588 h 2344739"/>
              <a:gd name="connsiteX113" fmla="*/ 7170808 w 12192001"/>
              <a:gd name="connsiteY113" fmla="*/ 2171236 h 2344739"/>
              <a:gd name="connsiteX114" fmla="*/ 7096988 w 12192001"/>
              <a:gd name="connsiteY114" fmla="*/ 2183464 h 2344739"/>
              <a:gd name="connsiteX115" fmla="*/ 7018496 w 12192001"/>
              <a:gd name="connsiteY115" fmla="*/ 2183090 h 2344739"/>
              <a:gd name="connsiteX116" fmla="*/ 6904146 w 12192001"/>
              <a:gd name="connsiteY116" fmla="*/ 2212596 h 2344739"/>
              <a:gd name="connsiteX117" fmla="*/ 6708222 w 12192001"/>
              <a:gd name="connsiteY117" fmla="*/ 2240551 h 2344739"/>
              <a:gd name="connsiteX118" fmla="*/ 6549454 w 12192001"/>
              <a:gd name="connsiteY118" fmla="*/ 2269327 h 2344739"/>
              <a:gd name="connsiteX119" fmla="*/ 6317560 w 12192001"/>
              <a:gd name="connsiteY119" fmla="*/ 2316127 h 2344739"/>
              <a:gd name="connsiteX120" fmla="*/ 6168674 w 12192001"/>
              <a:gd name="connsiteY120" fmla="*/ 2318214 h 2344739"/>
              <a:gd name="connsiteX121" fmla="*/ 6073848 w 12192001"/>
              <a:gd name="connsiteY121" fmla="*/ 2338676 h 2344739"/>
              <a:gd name="connsiteX122" fmla="*/ 6068529 w 12192001"/>
              <a:gd name="connsiteY122" fmla="*/ 2337139 h 2344739"/>
              <a:gd name="connsiteX123" fmla="*/ 6048638 w 12192001"/>
              <a:gd name="connsiteY123" fmla="*/ 2337822 h 2344739"/>
              <a:gd name="connsiteX124" fmla="*/ 6041285 w 12192001"/>
              <a:gd name="connsiteY124" fmla="*/ 2329473 h 2344739"/>
              <a:gd name="connsiteX125" fmla="*/ 6010090 w 12192001"/>
              <a:gd name="connsiteY125" fmla="*/ 2324380 h 2344739"/>
              <a:gd name="connsiteX126" fmla="*/ 5957375 w 12192001"/>
              <a:gd name="connsiteY126" fmla="*/ 2328024 h 2344739"/>
              <a:gd name="connsiteX127" fmla="*/ 5758919 w 12192001"/>
              <a:gd name="connsiteY127" fmla="*/ 2343716 h 2344739"/>
              <a:gd name="connsiteX128" fmla="*/ 5626960 w 12192001"/>
              <a:gd name="connsiteY128" fmla="*/ 2344739 h 2344739"/>
              <a:gd name="connsiteX129" fmla="*/ 5470906 w 12192001"/>
              <a:gd name="connsiteY129" fmla="*/ 2330719 h 2344739"/>
              <a:gd name="connsiteX130" fmla="*/ 5432761 w 12192001"/>
              <a:gd name="connsiteY130" fmla="*/ 2319466 h 2344739"/>
              <a:gd name="connsiteX131" fmla="*/ 5381669 w 12192001"/>
              <a:gd name="connsiteY131" fmla="*/ 2301764 h 2344739"/>
              <a:gd name="connsiteX132" fmla="*/ 5261764 w 12192001"/>
              <a:gd name="connsiteY132" fmla="*/ 2281347 h 2344739"/>
              <a:gd name="connsiteX133" fmla="*/ 5222961 w 12192001"/>
              <a:gd name="connsiteY133" fmla="*/ 2270223 h 2344739"/>
              <a:gd name="connsiteX134" fmla="*/ 5174660 w 12192001"/>
              <a:gd name="connsiteY134" fmla="*/ 2267233 h 2344739"/>
              <a:gd name="connsiteX135" fmla="*/ 5156554 w 12192001"/>
              <a:gd name="connsiteY135" fmla="*/ 2260010 h 2344739"/>
              <a:gd name="connsiteX136" fmla="*/ 5142599 w 12192001"/>
              <a:gd name="connsiteY136" fmla="*/ 2256610 h 2344739"/>
              <a:gd name="connsiteX137" fmla="*/ 5139596 w 12192001"/>
              <a:gd name="connsiteY137" fmla="*/ 2254509 h 2344739"/>
              <a:gd name="connsiteX138" fmla="*/ 5121659 w 12192001"/>
              <a:gd name="connsiteY138" fmla="*/ 2243656 h 2344739"/>
              <a:gd name="connsiteX139" fmla="*/ 5065790 w 12192001"/>
              <a:gd name="connsiteY139" fmla="*/ 2250227 h 2344739"/>
              <a:gd name="connsiteX140" fmla="*/ 5011514 w 12192001"/>
              <a:gd name="connsiteY140" fmla="*/ 2233846 h 2344739"/>
              <a:gd name="connsiteX141" fmla="*/ 4840441 w 12192001"/>
              <a:gd name="connsiteY141" fmla="*/ 2209829 h 2344739"/>
              <a:gd name="connsiteX142" fmla="*/ 4762447 w 12192001"/>
              <a:gd name="connsiteY142" fmla="*/ 2182061 h 2344739"/>
              <a:gd name="connsiteX143" fmla="*/ 4723186 w 12192001"/>
              <a:gd name="connsiteY143" fmla="*/ 2173047 h 2344739"/>
              <a:gd name="connsiteX144" fmla="*/ 4721176 w 12192001"/>
              <a:gd name="connsiteY144" fmla="*/ 2172298 h 2344739"/>
              <a:gd name="connsiteX145" fmla="*/ 4722111 w 12192001"/>
              <a:gd name="connsiteY145" fmla="*/ 2172087 h 2344739"/>
              <a:gd name="connsiteX146" fmla="*/ 4717202 w 12192001"/>
              <a:gd name="connsiteY146" fmla="*/ 2170817 h 2344739"/>
              <a:gd name="connsiteX147" fmla="*/ 4721176 w 12192001"/>
              <a:gd name="connsiteY147" fmla="*/ 2172298 h 2344739"/>
              <a:gd name="connsiteX148" fmla="*/ 4715526 w 12192001"/>
              <a:gd name="connsiteY148" fmla="*/ 2173573 h 2344739"/>
              <a:gd name="connsiteX149" fmla="*/ 4515814 w 12192001"/>
              <a:gd name="connsiteY149" fmla="*/ 2163671 h 2344739"/>
              <a:gd name="connsiteX150" fmla="*/ 4428543 w 12192001"/>
              <a:gd name="connsiteY150" fmla="*/ 2153020 h 2344739"/>
              <a:gd name="connsiteX151" fmla="*/ 4362875 w 12192001"/>
              <a:gd name="connsiteY151" fmla="*/ 2151674 h 2344739"/>
              <a:gd name="connsiteX152" fmla="*/ 4316966 w 12192001"/>
              <a:gd name="connsiteY152" fmla="*/ 2158289 h 2344739"/>
              <a:gd name="connsiteX153" fmla="*/ 4315110 w 12192001"/>
              <a:gd name="connsiteY153" fmla="*/ 2156948 h 2344739"/>
              <a:gd name="connsiteX154" fmla="*/ 4295144 w 12192001"/>
              <a:gd name="connsiteY154" fmla="*/ 2155069 h 2344739"/>
              <a:gd name="connsiteX155" fmla="*/ 4290064 w 12192001"/>
              <a:gd name="connsiteY155" fmla="*/ 2157986 h 2344739"/>
              <a:gd name="connsiteX156" fmla="*/ 4276142 w 12192001"/>
              <a:gd name="connsiteY156" fmla="*/ 2157740 h 2344739"/>
              <a:gd name="connsiteX157" fmla="*/ 4248117 w 12192001"/>
              <a:gd name="connsiteY157" fmla="*/ 2160064 h 2344739"/>
              <a:gd name="connsiteX158" fmla="*/ 4202051 w 12192001"/>
              <a:gd name="connsiteY158" fmla="*/ 2157269 h 2344739"/>
              <a:gd name="connsiteX159" fmla="*/ 4201745 w 12192001"/>
              <a:gd name="connsiteY159" fmla="*/ 2156010 h 2344739"/>
              <a:gd name="connsiteX160" fmla="*/ 4191248 w 12192001"/>
              <a:gd name="connsiteY160" fmla="*/ 2150376 h 2344739"/>
              <a:gd name="connsiteX161" fmla="*/ 4142745 w 12192001"/>
              <a:gd name="connsiteY161" fmla="*/ 2134511 h 2344739"/>
              <a:gd name="connsiteX162" fmla="*/ 4083097 w 12192001"/>
              <a:gd name="connsiteY162" fmla="*/ 2107978 h 2344739"/>
              <a:gd name="connsiteX163" fmla="*/ 4074546 w 12192001"/>
              <a:gd name="connsiteY163" fmla="*/ 2107143 h 2344739"/>
              <a:gd name="connsiteX164" fmla="*/ 4074427 w 12192001"/>
              <a:gd name="connsiteY164" fmla="*/ 2106844 h 2344739"/>
              <a:gd name="connsiteX165" fmla="*/ 4065510 w 12192001"/>
              <a:gd name="connsiteY165" fmla="*/ 2105400 h 2344739"/>
              <a:gd name="connsiteX166" fmla="*/ 4058954 w 12192001"/>
              <a:gd name="connsiteY166" fmla="*/ 2105618 h 2344739"/>
              <a:gd name="connsiteX167" fmla="*/ 4042364 w 12192001"/>
              <a:gd name="connsiteY167" fmla="*/ 2103997 h 2344739"/>
              <a:gd name="connsiteX168" fmla="*/ 4036997 w 12192001"/>
              <a:gd name="connsiteY168" fmla="*/ 2101563 h 2344739"/>
              <a:gd name="connsiteX169" fmla="*/ 4035363 w 12192001"/>
              <a:gd name="connsiteY169" fmla="*/ 2097896 h 2344739"/>
              <a:gd name="connsiteX170" fmla="*/ 4033778 w 12192001"/>
              <a:gd name="connsiteY170" fmla="*/ 2098131 h 2344739"/>
              <a:gd name="connsiteX171" fmla="*/ 4004538 w 12192001"/>
              <a:gd name="connsiteY171" fmla="*/ 2085563 h 2344739"/>
              <a:gd name="connsiteX172" fmla="*/ 3936846 w 12192001"/>
              <a:gd name="connsiteY172" fmla="*/ 2068106 h 2344739"/>
              <a:gd name="connsiteX173" fmla="*/ 3897275 w 12192001"/>
              <a:gd name="connsiteY173" fmla="*/ 2062451 h 2344739"/>
              <a:gd name="connsiteX174" fmla="*/ 3789760 w 12192001"/>
              <a:gd name="connsiteY174" fmla="*/ 2042213 h 2344739"/>
              <a:gd name="connsiteX175" fmla="*/ 3682513 w 12192001"/>
              <a:gd name="connsiteY175" fmla="*/ 2018290 h 2344739"/>
              <a:gd name="connsiteX176" fmla="*/ 3610035 w 12192001"/>
              <a:gd name="connsiteY176" fmla="*/ 1986019 h 2344739"/>
              <a:gd name="connsiteX177" fmla="*/ 3603855 w 12192001"/>
              <a:gd name="connsiteY177" fmla="*/ 1987381 h 2344739"/>
              <a:gd name="connsiteX178" fmla="*/ 3594736 w 12192001"/>
              <a:gd name="connsiteY178" fmla="*/ 1987545 h 2344739"/>
              <a:gd name="connsiteX179" fmla="*/ 3594501 w 12192001"/>
              <a:gd name="connsiteY179" fmla="*/ 1987276 h 2344739"/>
              <a:gd name="connsiteX180" fmla="*/ 3585978 w 12192001"/>
              <a:gd name="connsiteY180" fmla="*/ 1987966 h 2344739"/>
              <a:gd name="connsiteX181" fmla="*/ 3536135 w 12192001"/>
              <a:gd name="connsiteY181" fmla="*/ 1978267 h 2344739"/>
              <a:gd name="connsiteX182" fmla="*/ 3473223 w 12192001"/>
              <a:gd name="connsiteY182" fmla="*/ 1974606 h 2344739"/>
              <a:gd name="connsiteX183" fmla="*/ 3400728 w 12192001"/>
              <a:gd name="connsiteY183" fmla="*/ 1962558 h 2344739"/>
              <a:gd name="connsiteX184" fmla="*/ 3363888 w 12192001"/>
              <a:gd name="connsiteY184" fmla="*/ 1979510 h 2344739"/>
              <a:gd name="connsiteX185" fmla="*/ 3344026 w 12192001"/>
              <a:gd name="connsiteY185" fmla="*/ 1981192 h 2344739"/>
              <a:gd name="connsiteX186" fmla="*/ 3341698 w 12192001"/>
              <a:gd name="connsiteY186" fmla="*/ 1980217 h 2344739"/>
              <a:gd name="connsiteX187" fmla="*/ 3262356 w 12192001"/>
              <a:gd name="connsiteY187" fmla="*/ 1986094 h 2344739"/>
              <a:gd name="connsiteX188" fmla="*/ 3142556 w 12192001"/>
              <a:gd name="connsiteY188" fmla="*/ 1993869 h 2344739"/>
              <a:gd name="connsiteX189" fmla="*/ 3030291 w 12192001"/>
              <a:gd name="connsiteY189" fmla="*/ 1996512 h 2344739"/>
              <a:gd name="connsiteX190" fmla="*/ 2781569 w 12192001"/>
              <a:gd name="connsiteY190" fmla="*/ 2018333 h 2344739"/>
              <a:gd name="connsiteX191" fmla="*/ 2646527 w 12192001"/>
              <a:gd name="connsiteY191" fmla="*/ 2028869 h 2344739"/>
              <a:gd name="connsiteX192" fmla="*/ 2568028 w 12192001"/>
              <a:gd name="connsiteY192" fmla="*/ 2002628 h 2344739"/>
              <a:gd name="connsiteX193" fmla="*/ 2443255 w 12192001"/>
              <a:gd name="connsiteY193" fmla="*/ 2016529 h 2344739"/>
              <a:gd name="connsiteX194" fmla="*/ 2315112 w 12192001"/>
              <a:gd name="connsiteY194" fmla="*/ 2024996 h 2344739"/>
              <a:gd name="connsiteX195" fmla="*/ 2208578 w 12192001"/>
              <a:gd name="connsiteY195" fmla="*/ 2019763 h 2344739"/>
              <a:gd name="connsiteX196" fmla="*/ 2094665 w 12192001"/>
              <a:gd name="connsiteY196" fmla="*/ 2003052 h 2344739"/>
              <a:gd name="connsiteX197" fmla="*/ 1997356 w 12192001"/>
              <a:gd name="connsiteY197" fmla="*/ 1995032 h 2344739"/>
              <a:gd name="connsiteX198" fmla="*/ 1928172 w 12192001"/>
              <a:gd name="connsiteY198" fmla="*/ 2016977 h 2344739"/>
              <a:gd name="connsiteX199" fmla="*/ 1921650 w 12192001"/>
              <a:gd name="connsiteY199" fmla="*/ 2012146 h 2344739"/>
              <a:gd name="connsiteX200" fmla="*/ 1873080 w 12192001"/>
              <a:gd name="connsiteY200" fmla="*/ 2013741 h 2344739"/>
              <a:gd name="connsiteX201" fmla="*/ 1786655 w 12192001"/>
              <a:gd name="connsiteY201" fmla="*/ 2041363 h 2344739"/>
              <a:gd name="connsiteX202" fmla="*/ 1738204 w 12192001"/>
              <a:gd name="connsiteY202" fmla="*/ 2036312 h 2344739"/>
              <a:gd name="connsiteX203" fmla="*/ 1675071 w 12192001"/>
              <a:gd name="connsiteY203" fmla="*/ 2019963 h 2344739"/>
              <a:gd name="connsiteX204" fmla="*/ 1608669 w 12192001"/>
              <a:gd name="connsiteY204" fmla="*/ 2013066 h 2344739"/>
              <a:gd name="connsiteX205" fmla="*/ 1496110 w 12192001"/>
              <a:gd name="connsiteY205" fmla="*/ 1987476 h 2344739"/>
              <a:gd name="connsiteX206" fmla="*/ 1149979 w 12192001"/>
              <a:gd name="connsiteY206" fmla="*/ 1938041 h 2344739"/>
              <a:gd name="connsiteX207" fmla="*/ 858269 w 12192001"/>
              <a:gd name="connsiteY207" fmla="*/ 1928608 h 2344739"/>
              <a:gd name="connsiteX208" fmla="*/ 837540 w 12192001"/>
              <a:gd name="connsiteY208" fmla="*/ 1929821 h 2344739"/>
              <a:gd name="connsiteX209" fmla="*/ 816809 w 12192001"/>
              <a:gd name="connsiteY209" fmla="*/ 1927857 h 2344739"/>
              <a:gd name="connsiteX210" fmla="*/ 811506 w 12192001"/>
              <a:gd name="connsiteY210" fmla="*/ 1930751 h 2344739"/>
              <a:gd name="connsiteX211" fmla="*/ 797041 w 12192001"/>
              <a:gd name="connsiteY211" fmla="*/ 1930446 h 2344739"/>
              <a:gd name="connsiteX212" fmla="*/ 767901 w 12192001"/>
              <a:gd name="connsiteY212" fmla="*/ 1932653 h 2344739"/>
              <a:gd name="connsiteX213" fmla="*/ 763053 w 12192001"/>
              <a:gd name="connsiteY213" fmla="*/ 1930432 h 2344739"/>
              <a:gd name="connsiteX214" fmla="*/ 720047 w 12192001"/>
              <a:gd name="connsiteY214" fmla="*/ 1929661 h 2344739"/>
              <a:gd name="connsiteX215" fmla="*/ 719742 w 12192001"/>
              <a:gd name="connsiteY215" fmla="*/ 1928399 h 2344739"/>
              <a:gd name="connsiteX216" fmla="*/ 708875 w 12192001"/>
              <a:gd name="connsiteY216" fmla="*/ 1922722 h 2344739"/>
              <a:gd name="connsiteX217" fmla="*/ 596792 w 12192001"/>
              <a:gd name="connsiteY217" fmla="*/ 1879864 h 2344739"/>
              <a:gd name="connsiteX218" fmla="*/ 578535 w 12192001"/>
              <a:gd name="connsiteY218" fmla="*/ 1877212 h 2344739"/>
              <a:gd name="connsiteX219" fmla="*/ 571717 w 12192001"/>
              <a:gd name="connsiteY219" fmla="*/ 1877401 h 2344739"/>
              <a:gd name="connsiteX220" fmla="*/ 445099 w 12192001"/>
              <a:gd name="connsiteY220" fmla="*/ 1839371 h 2344739"/>
              <a:gd name="connsiteX221" fmla="*/ 404015 w 12192001"/>
              <a:gd name="connsiteY221" fmla="*/ 1833548 h 2344739"/>
              <a:gd name="connsiteX222" fmla="*/ 292435 w 12192001"/>
              <a:gd name="connsiteY222" fmla="*/ 1812852 h 2344739"/>
              <a:gd name="connsiteX223" fmla="*/ 118381 w 12192001"/>
              <a:gd name="connsiteY223" fmla="*/ 1761047 h 2344739"/>
              <a:gd name="connsiteX224" fmla="*/ 15526 w 12192001"/>
              <a:gd name="connsiteY224" fmla="*/ 1758191 h 2344739"/>
              <a:gd name="connsiteX225" fmla="*/ 2 w 12192001"/>
              <a:gd name="connsiteY225" fmla="*/ 1752722 h 2344739"/>
              <a:gd name="connsiteX226" fmla="*/ 1 w 12192001"/>
              <a:gd name="connsiteY226" fmla="*/ 762497 h 2344739"/>
              <a:gd name="connsiteX227" fmla="*/ 0 w 12192001"/>
              <a:gd name="connsiteY227" fmla="*/ 762497 h 2344739"/>
              <a:gd name="connsiteX228" fmla="*/ 0 w 12192001"/>
              <a:gd name="connsiteY228" fmla="*/ 222213 h 2344739"/>
              <a:gd name="connsiteX229" fmla="*/ 0 w 12192001"/>
              <a:gd name="connsiteY229"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05669 w 12192001"/>
              <a:gd name="connsiteY25" fmla="*/ 1033623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13812 w 12192001"/>
              <a:gd name="connsiteY69" fmla="*/ 1919069 h 2344739"/>
              <a:gd name="connsiteX70" fmla="*/ 9053453 w 12192001"/>
              <a:gd name="connsiteY70" fmla="*/ 1910755 h 2344739"/>
              <a:gd name="connsiteX71" fmla="*/ 9005486 w 12192001"/>
              <a:gd name="connsiteY71" fmla="*/ 1914040 h 2344739"/>
              <a:gd name="connsiteX72" fmla="*/ 9005201 w 12192001"/>
              <a:gd name="connsiteY72" fmla="*/ 1913800 h 2344739"/>
              <a:gd name="connsiteX73" fmla="*/ 8996232 w 12192001"/>
              <a:gd name="connsiteY73" fmla="*/ 1915011 h 2344739"/>
              <a:gd name="connsiteX74" fmla="*/ 8990394 w 12192001"/>
              <a:gd name="connsiteY74" fmla="*/ 1917072 h 2344739"/>
              <a:gd name="connsiteX75" fmla="*/ 8974337 w 12192001"/>
              <a:gd name="connsiteY75" fmla="*/ 1920298 h 2344739"/>
              <a:gd name="connsiteX76" fmla="*/ 8968011 w 12192001"/>
              <a:gd name="connsiteY76" fmla="*/ 1919598 h 2344739"/>
              <a:gd name="connsiteX77" fmla="*/ 8963048 w 12192001"/>
              <a:gd name="connsiteY77" fmla="*/ 1917373 h 2344739"/>
              <a:gd name="connsiteX78" fmla="*/ 8928988 w 12192001"/>
              <a:gd name="connsiteY78" fmla="*/ 1914185 h 2344739"/>
              <a:gd name="connsiteX79" fmla="*/ 8752444 w 12192001"/>
              <a:gd name="connsiteY79" fmla="*/ 1933417 h 2344739"/>
              <a:gd name="connsiteX80" fmla="*/ 8707847 w 12192001"/>
              <a:gd name="connsiteY80" fmla="*/ 1935518 h 2344739"/>
              <a:gd name="connsiteX81" fmla="*/ 8596071 w 12192001"/>
              <a:gd name="connsiteY81" fmla="*/ 1944090 h 2344739"/>
              <a:gd name="connsiteX82" fmla="*/ 8525230 w 12192001"/>
              <a:gd name="connsiteY82" fmla="*/ 1929248 h 2344739"/>
              <a:gd name="connsiteX83" fmla="*/ 8510983 w 12192001"/>
              <a:gd name="connsiteY83" fmla="*/ 1935163 h 2344739"/>
              <a:gd name="connsiteX84" fmla="*/ 8506167 w 12192001"/>
              <a:gd name="connsiteY84" fmla="*/ 1938164 h 2344739"/>
              <a:gd name="connsiteX85" fmla="*/ 8497968 w 12192001"/>
              <a:gd name="connsiteY85" fmla="*/ 1940902 h 2344739"/>
              <a:gd name="connsiteX86" fmla="*/ 8497594 w 12192001"/>
              <a:gd name="connsiteY86" fmla="*/ 1940723 h 2344739"/>
              <a:gd name="connsiteX87" fmla="*/ 8490249 w 12192001"/>
              <a:gd name="connsiteY87" fmla="*/ 1943773 h 2344739"/>
              <a:gd name="connsiteX88" fmla="*/ 8367182 w 12192001"/>
              <a:gd name="connsiteY88" fmla="*/ 1957815 h 2344739"/>
              <a:gd name="connsiteX89" fmla="*/ 8353799 w 12192001"/>
              <a:gd name="connsiteY89" fmla="*/ 1958009 h 2344739"/>
              <a:gd name="connsiteX90" fmla="*/ 8352373 w 12192001"/>
              <a:gd name="connsiteY90" fmla="*/ 1957169 h 2344739"/>
              <a:gd name="connsiteX91" fmla="*/ 8320104 w 12192001"/>
              <a:gd name="connsiteY91" fmla="*/ 1974587 h 2344739"/>
              <a:gd name="connsiteX92" fmla="*/ 8314433 w 12192001"/>
              <a:gd name="connsiteY92" fmla="*/ 1974913 h 2344739"/>
              <a:gd name="connsiteX93" fmla="*/ 8295174 w 12192001"/>
              <a:gd name="connsiteY93" fmla="*/ 1988808 h 2344739"/>
              <a:gd name="connsiteX94" fmla="*/ 8284276 w 12192001"/>
              <a:gd name="connsiteY94" fmla="*/ 1994631 h 2344739"/>
              <a:gd name="connsiteX95" fmla="*/ 8283150 w 12192001"/>
              <a:gd name="connsiteY95" fmla="*/ 1999074 h 2344739"/>
              <a:gd name="connsiteX96" fmla="*/ 8266076 w 12192001"/>
              <a:gd name="connsiteY96" fmla="*/ 2006249 h 2344739"/>
              <a:gd name="connsiteX97" fmla="*/ 8263377 w 12192001"/>
              <a:gd name="connsiteY97" fmla="*/ 2006019 h 2344739"/>
              <a:gd name="connsiteX98" fmla="*/ 8252033 w 12192001"/>
              <a:gd name="connsiteY98" fmla="*/ 2015862 h 2344739"/>
              <a:gd name="connsiteX99" fmla="*/ 8245834 w 12192001"/>
              <a:gd name="connsiteY99" fmla="*/ 2028854 h 2344739"/>
              <a:gd name="connsiteX100" fmla="*/ 8090272 w 12192001"/>
              <a:gd name="connsiteY100" fmla="*/ 2075015 h 2344739"/>
              <a:gd name="connsiteX101" fmla="*/ 7905407 w 12192001"/>
              <a:gd name="connsiteY101" fmla="*/ 2116988 h 2344739"/>
              <a:gd name="connsiteX102" fmla="*/ 7718745 w 12192001"/>
              <a:gd name="connsiteY102" fmla="*/ 2142703 h 2344739"/>
              <a:gd name="connsiteX103" fmla="*/ 7614347 w 12192001"/>
              <a:gd name="connsiteY103" fmla="*/ 2139232 h 2344739"/>
              <a:gd name="connsiteX104" fmla="*/ 7527543 w 12192001"/>
              <a:gd name="connsiteY104" fmla="*/ 2145060 h 2344739"/>
              <a:gd name="connsiteX105" fmla="*/ 7519571 w 12192001"/>
              <a:gd name="connsiteY105" fmla="*/ 2147613 h 2344739"/>
              <a:gd name="connsiteX106" fmla="*/ 7507411 w 12192001"/>
              <a:gd name="connsiteY106" fmla="*/ 2148948 h 2344739"/>
              <a:gd name="connsiteX107" fmla="*/ 7507040 w 12192001"/>
              <a:gd name="connsiteY107" fmla="*/ 2148621 h 2344739"/>
              <a:gd name="connsiteX108" fmla="*/ 7495795 w 12192001"/>
              <a:gd name="connsiteY108" fmla="*/ 2150573 h 2344739"/>
              <a:gd name="connsiteX109" fmla="*/ 7405391 w 12192001"/>
              <a:gd name="connsiteY109" fmla="*/ 2142468 h 2344739"/>
              <a:gd name="connsiteX110" fmla="*/ 7218559 w 12192001"/>
              <a:gd name="connsiteY110" fmla="*/ 2156680 h 2344739"/>
              <a:gd name="connsiteX111" fmla="*/ 7201101 w 12192001"/>
              <a:gd name="connsiteY111" fmla="*/ 2161230 h 2344739"/>
              <a:gd name="connsiteX112" fmla="*/ 7197004 w 12192001"/>
              <a:gd name="connsiteY112" fmla="*/ 2166588 h 2344739"/>
              <a:gd name="connsiteX113" fmla="*/ 7170808 w 12192001"/>
              <a:gd name="connsiteY113" fmla="*/ 2171236 h 2344739"/>
              <a:gd name="connsiteX114" fmla="*/ 7096988 w 12192001"/>
              <a:gd name="connsiteY114" fmla="*/ 2183464 h 2344739"/>
              <a:gd name="connsiteX115" fmla="*/ 7018496 w 12192001"/>
              <a:gd name="connsiteY115" fmla="*/ 2183090 h 2344739"/>
              <a:gd name="connsiteX116" fmla="*/ 6904146 w 12192001"/>
              <a:gd name="connsiteY116" fmla="*/ 2212596 h 2344739"/>
              <a:gd name="connsiteX117" fmla="*/ 6708222 w 12192001"/>
              <a:gd name="connsiteY117" fmla="*/ 2240551 h 2344739"/>
              <a:gd name="connsiteX118" fmla="*/ 6549454 w 12192001"/>
              <a:gd name="connsiteY118" fmla="*/ 2269327 h 2344739"/>
              <a:gd name="connsiteX119" fmla="*/ 6317560 w 12192001"/>
              <a:gd name="connsiteY119" fmla="*/ 2316127 h 2344739"/>
              <a:gd name="connsiteX120" fmla="*/ 6168674 w 12192001"/>
              <a:gd name="connsiteY120" fmla="*/ 2318214 h 2344739"/>
              <a:gd name="connsiteX121" fmla="*/ 6073848 w 12192001"/>
              <a:gd name="connsiteY121" fmla="*/ 2338676 h 2344739"/>
              <a:gd name="connsiteX122" fmla="*/ 6068529 w 12192001"/>
              <a:gd name="connsiteY122" fmla="*/ 2337139 h 2344739"/>
              <a:gd name="connsiteX123" fmla="*/ 6048638 w 12192001"/>
              <a:gd name="connsiteY123" fmla="*/ 2337822 h 2344739"/>
              <a:gd name="connsiteX124" fmla="*/ 6041285 w 12192001"/>
              <a:gd name="connsiteY124" fmla="*/ 2329473 h 2344739"/>
              <a:gd name="connsiteX125" fmla="*/ 6010090 w 12192001"/>
              <a:gd name="connsiteY125" fmla="*/ 2324380 h 2344739"/>
              <a:gd name="connsiteX126" fmla="*/ 5957375 w 12192001"/>
              <a:gd name="connsiteY126" fmla="*/ 2328024 h 2344739"/>
              <a:gd name="connsiteX127" fmla="*/ 5758919 w 12192001"/>
              <a:gd name="connsiteY127" fmla="*/ 2343716 h 2344739"/>
              <a:gd name="connsiteX128" fmla="*/ 5626960 w 12192001"/>
              <a:gd name="connsiteY128" fmla="*/ 2344739 h 2344739"/>
              <a:gd name="connsiteX129" fmla="*/ 5470906 w 12192001"/>
              <a:gd name="connsiteY129" fmla="*/ 2330719 h 2344739"/>
              <a:gd name="connsiteX130" fmla="*/ 5432761 w 12192001"/>
              <a:gd name="connsiteY130" fmla="*/ 2319466 h 2344739"/>
              <a:gd name="connsiteX131" fmla="*/ 5381669 w 12192001"/>
              <a:gd name="connsiteY131" fmla="*/ 2301764 h 2344739"/>
              <a:gd name="connsiteX132" fmla="*/ 5261764 w 12192001"/>
              <a:gd name="connsiteY132" fmla="*/ 2281347 h 2344739"/>
              <a:gd name="connsiteX133" fmla="*/ 5222961 w 12192001"/>
              <a:gd name="connsiteY133" fmla="*/ 2270223 h 2344739"/>
              <a:gd name="connsiteX134" fmla="*/ 5174660 w 12192001"/>
              <a:gd name="connsiteY134" fmla="*/ 2267233 h 2344739"/>
              <a:gd name="connsiteX135" fmla="*/ 5156554 w 12192001"/>
              <a:gd name="connsiteY135" fmla="*/ 2260010 h 2344739"/>
              <a:gd name="connsiteX136" fmla="*/ 5142599 w 12192001"/>
              <a:gd name="connsiteY136" fmla="*/ 2256610 h 2344739"/>
              <a:gd name="connsiteX137" fmla="*/ 5139596 w 12192001"/>
              <a:gd name="connsiteY137" fmla="*/ 2254509 h 2344739"/>
              <a:gd name="connsiteX138" fmla="*/ 5121659 w 12192001"/>
              <a:gd name="connsiteY138" fmla="*/ 2243656 h 2344739"/>
              <a:gd name="connsiteX139" fmla="*/ 5065790 w 12192001"/>
              <a:gd name="connsiteY139" fmla="*/ 2250227 h 2344739"/>
              <a:gd name="connsiteX140" fmla="*/ 5011514 w 12192001"/>
              <a:gd name="connsiteY140" fmla="*/ 2233846 h 2344739"/>
              <a:gd name="connsiteX141" fmla="*/ 4840441 w 12192001"/>
              <a:gd name="connsiteY141" fmla="*/ 2209829 h 2344739"/>
              <a:gd name="connsiteX142" fmla="*/ 4762447 w 12192001"/>
              <a:gd name="connsiteY142" fmla="*/ 2182061 h 2344739"/>
              <a:gd name="connsiteX143" fmla="*/ 4723186 w 12192001"/>
              <a:gd name="connsiteY143" fmla="*/ 2173047 h 2344739"/>
              <a:gd name="connsiteX144" fmla="*/ 4721176 w 12192001"/>
              <a:gd name="connsiteY144" fmla="*/ 2172298 h 2344739"/>
              <a:gd name="connsiteX145" fmla="*/ 4722111 w 12192001"/>
              <a:gd name="connsiteY145" fmla="*/ 2172087 h 2344739"/>
              <a:gd name="connsiteX146" fmla="*/ 4717202 w 12192001"/>
              <a:gd name="connsiteY146" fmla="*/ 2170817 h 2344739"/>
              <a:gd name="connsiteX147" fmla="*/ 4721176 w 12192001"/>
              <a:gd name="connsiteY147" fmla="*/ 2172298 h 2344739"/>
              <a:gd name="connsiteX148" fmla="*/ 4715526 w 12192001"/>
              <a:gd name="connsiteY148" fmla="*/ 2173573 h 2344739"/>
              <a:gd name="connsiteX149" fmla="*/ 4515814 w 12192001"/>
              <a:gd name="connsiteY149" fmla="*/ 2163671 h 2344739"/>
              <a:gd name="connsiteX150" fmla="*/ 4428543 w 12192001"/>
              <a:gd name="connsiteY150" fmla="*/ 2153020 h 2344739"/>
              <a:gd name="connsiteX151" fmla="*/ 4362875 w 12192001"/>
              <a:gd name="connsiteY151" fmla="*/ 2151674 h 2344739"/>
              <a:gd name="connsiteX152" fmla="*/ 4316966 w 12192001"/>
              <a:gd name="connsiteY152" fmla="*/ 2158289 h 2344739"/>
              <a:gd name="connsiteX153" fmla="*/ 4315110 w 12192001"/>
              <a:gd name="connsiteY153" fmla="*/ 2156948 h 2344739"/>
              <a:gd name="connsiteX154" fmla="*/ 4295144 w 12192001"/>
              <a:gd name="connsiteY154" fmla="*/ 2155069 h 2344739"/>
              <a:gd name="connsiteX155" fmla="*/ 4290064 w 12192001"/>
              <a:gd name="connsiteY155" fmla="*/ 2157986 h 2344739"/>
              <a:gd name="connsiteX156" fmla="*/ 4276142 w 12192001"/>
              <a:gd name="connsiteY156" fmla="*/ 2157740 h 2344739"/>
              <a:gd name="connsiteX157" fmla="*/ 4248117 w 12192001"/>
              <a:gd name="connsiteY157" fmla="*/ 2160064 h 2344739"/>
              <a:gd name="connsiteX158" fmla="*/ 4202051 w 12192001"/>
              <a:gd name="connsiteY158" fmla="*/ 2157269 h 2344739"/>
              <a:gd name="connsiteX159" fmla="*/ 4201745 w 12192001"/>
              <a:gd name="connsiteY159" fmla="*/ 2156010 h 2344739"/>
              <a:gd name="connsiteX160" fmla="*/ 4191248 w 12192001"/>
              <a:gd name="connsiteY160" fmla="*/ 2150376 h 2344739"/>
              <a:gd name="connsiteX161" fmla="*/ 4142745 w 12192001"/>
              <a:gd name="connsiteY161" fmla="*/ 2134511 h 2344739"/>
              <a:gd name="connsiteX162" fmla="*/ 4083097 w 12192001"/>
              <a:gd name="connsiteY162" fmla="*/ 2107978 h 2344739"/>
              <a:gd name="connsiteX163" fmla="*/ 4074546 w 12192001"/>
              <a:gd name="connsiteY163" fmla="*/ 2107143 h 2344739"/>
              <a:gd name="connsiteX164" fmla="*/ 4074427 w 12192001"/>
              <a:gd name="connsiteY164" fmla="*/ 2106844 h 2344739"/>
              <a:gd name="connsiteX165" fmla="*/ 4065510 w 12192001"/>
              <a:gd name="connsiteY165" fmla="*/ 2105400 h 2344739"/>
              <a:gd name="connsiteX166" fmla="*/ 4058954 w 12192001"/>
              <a:gd name="connsiteY166" fmla="*/ 2105618 h 2344739"/>
              <a:gd name="connsiteX167" fmla="*/ 4042364 w 12192001"/>
              <a:gd name="connsiteY167" fmla="*/ 2103997 h 2344739"/>
              <a:gd name="connsiteX168" fmla="*/ 4036997 w 12192001"/>
              <a:gd name="connsiteY168" fmla="*/ 2101563 h 2344739"/>
              <a:gd name="connsiteX169" fmla="*/ 4035363 w 12192001"/>
              <a:gd name="connsiteY169" fmla="*/ 2097896 h 2344739"/>
              <a:gd name="connsiteX170" fmla="*/ 4033778 w 12192001"/>
              <a:gd name="connsiteY170" fmla="*/ 2098131 h 2344739"/>
              <a:gd name="connsiteX171" fmla="*/ 4004538 w 12192001"/>
              <a:gd name="connsiteY171" fmla="*/ 2085563 h 2344739"/>
              <a:gd name="connsiteX172" fmla="*/ 3936846 w 12192001"/>
              <a:gd name="connsiteY172" fmla="*/ 2068106 h 2344739"/>
              <a:gd name="connsiteX173" fmla="*/ 3897275 w 12192001"/>
              <a:gd name="connsiteY173" fmla="*/ 2062451 h 2344739"/>
              <a:gd name="connsiteX174" fmla="*/ 3789760 w 12192001"/>
              <a:gd name="connsiteY174" fmla="*/ 2042213 h 2344739"/>
              <a:gd name="connsiteX175" fmla="*/ 3682513 w 12192001"/>
              <a:gd name="connsiteY175" fmla="*/ 2018290 h 2344739"/>
              <a:gd name="connsiteX176" fmla="*/ 3610035 w 12192001"/>
              <a:gd name="connsiteY176" fmla="*/ 1986019 h 2344739"/>
              <a:gd name="connsiteX177" fmla="*/ 3603855 w 12192001"/>
              <a:gd name="connsiteY177" fmla="*/ 1987381 h 2344739"/>
              <a:gd name="connsiteX178" fmla="*/ 3594736 w 12192001"/>
              <a:gd name="connsiteY178" fmla="*/ 1987545 h 2344739"/>
              <a:gd name="connsiteX179" fmla="*/ 3594501 w 12192001"/>
              <a:gd name="connsiteY179" fmla="*/ 1987276 h 2344739"/>
              <a:gd name="connsiteX180" fmla="*/ 3585978 w 12192001"/>
              <a:gd name="connsiteY180" fmla="*/ 1987966 h 2344739"/>
              <a:gd name="connsiteX181" fmla="*/ 3536135 w 12192001"/>
              <a:gd name="connsiteY181" fmla="*/ 1978267 h 2344739"/>
              <a:gd name="connsiteX182" fmla="*/ 3473223 w 12192001"/>
              <a:gd name="connsiteY182" fmla="*/ 1974606 h 2344739"/>
              <a:gd name="connsiteX183" fmla="*/ 3400728 w 12192001"/>
              <a:gd name="connsiteY183" fmla="*/ 1962558 h 2344739"/>
              <a:gd name="connsiteX184" fmla="*/ 3363888 w 12192001"/>
              <a:gd name="connsiteY184" fmla="*/ 1979510 h 2344739"/>
              <a:gd name="connsiteX185" fmla="*/ 3344026 w 12192001"/>
              <a:gd name="connsiteY185" fmla="*/ 1981192 h 2344739"/>
              <a:gd name="connsiteX186" fmla="*/ 3341698 w 12192001"/>
              <a:gd name="connsiteY186" fmla="*/ 1980217 h 2344739"/>
              <a:gd name="connsiteX187" fmla="*/ 3262356 w 12192001"/>
              <a:gd name="connsiteY187" fmla="*/ 1986094 h 2344739"/>
              <a:gd name="connsiteX188" fmla="*/ 3142556 w 12192001"/>
              <a:gd name="connsiteY188" fmla="*/ 1993869 h 2344739"/>
              <a:gd name="connsiteX189" fmla="*/ 3030291 w 12192001"/>
              <a:gd name="connsiteY189" fmla="*/ 1996512 h 2344739"/>
              <a:gd name="connsiteX190" fmla="*/ 2781569 w 12192001"/>
              <a:gd name="connsiteY190" fmla="*/ 2018333 h 2344739"/>
              <a:gd name="connsiteX191" fmla="*/ 2646527 w 12192001"/>
              <a:gd name="connsiteY191" fmla="*/ 2028869 h 2344739"/>
              <a:gd name="connsiteX192" fmla="*/ 2568028 w 12192001"/>
              <a:gd name="connsiteY192" fmla="*/ 2002628 h 2344739"/>
              <a:gd name="connsiteX193" fmla="*/ 2443255 w 12192001"/>
              <a:gd name="connsiteY193" fmla="*/ 2016529 h 2344739"/>
              <a:gd name="connsiteX194" fmla="*/ 2315112 w 12192001"/>
              <a:gd name="connsiteY194" fmla="*/ 2024996 h 2344739"/>
              <a:gd name="connsiteX195" fmla="*/ 2208578 w 12192001"/>
              <a:gd name="connsiteY195" fmla="*/ 2019763 h 2344739"/>
              <a:gd name="connsiteX196" fmla="*/ 2094665 w 12192001"/>
              <a:gd name="connsiteY196" fmla="*/ 2003052 h 2344739"/>
              <a:gd name="connsiteX197" fmla="*/ 1997356 w 12192001"/>
              <a:gd name="connsiteY197" fmla="*/ 1995032 h 2344739"/>
              <a:gd name="connsiteX198" fmla="*/ 1928172 w 12192001"/>
              <a:gd name="connsiteY198" fmla="*/ 2016977 h 2344739"/>
              <a:gd name="connsiteX199" fmla="*/ 1921650 w 12192001"/>
              <a:gd name="connsiteY199" fmla="*/ 2012146 h 2344739"/>
              <a:gd name="connsiteX200" fmla="*/ 1873080 w 12192001"/>
              <a:gd name="connsiteY200" fmla="*/ 2013741 h 2344739"/>
              <a:gd name="connsiteX201" fmla="*/ 1786655 w 12192001"/>
              <a:gd name="connsiteY201" fmla="*/ 2041363 h 2344739"/>
              <a:gd name="connsiteX202" fmla="*/ 1738204 w 12192001"/>
              <a:gd name="connsiteY202" fmla="*/ 2036312 h 2344739"/>
              <a:gd name="connsiteX203" fmla="*/ 1675071 w 12192001"/>
              <a:gd name="connsiteY203" fmla="*/ 2019963 h 2344739"/>
              <a:gd name="connsiteX204" fmla="*/ 1608669 w 12192001"/>
              <a:gd name="connsiteY204" fmla="*/ 2013066 h 2344739"/>
              <a:gd name="connsiteX205" fmla="*/ 1496110 w 12192001"/>
              <a:gd name="connsiteY205" fmla="*/ 1987476 h 2344739"/>
              <a:gd name="connsiteX206" fmla="*/ 1149979 w 12192001"/>
              <a:gd name="connsiteY206" fmla="*/ 1938041 h 2344739"/>
              <a:gd name="connsiteX207" fmla="*/ 858269 w 12192001"/>
              <a:gd name="connsiteY207" fmla="*/ 1928608 h 2344739"/>
              <a:gd name="connsiteX208" fmla="*/ 837540 w 12192001"/>
              <a:gd name="connsiteY208" fmla="*/ 1929821 h 2344739"/>
              <a:gd name="connsiteX209" fmla="*/ 816809 w 12192001"/>
              <a:gd name="connsiteY209" fmla="*/ 1927857 h 2344739"/>
              <a:gd name="connsiteX210" fmla="*/ 811506 w 12192001"/>
              <a:gd name="connsiteY210" fmla="*/ 1930751 h 2344739"/>
              <a:gd name="connsiteX211" fmla="*/ 797041 w 12192001"/>
              <a:gd name="connsiteY211" fmla="*/ 1930446 h 2344739"/>
              <a:gd name="connsiteX212" fmla="*/ 767901 w 12192001"/>
              <a:gd name="connsiteY212" fmla="*/ 1932653 h 2344739"/>
              <a:gd name="connsiteX213" fmla="*/ 720047 w 12192001"/>
              <a:gd name="connsiteY213" fmla="*/ 1929661 h 2344739"/>
              <a:gd name="connsiteX214" fmla="*/ 719742 w 12192001"/>
              <a:gd name="connsiteY214" fmla="*/ 1928399 h 2344739"/>
              <a:gd name="connsiteX215" fmla="*/ 708875 w 12192001"/>
              <a:gd name="connsiteY215" fmla="*/ 1922722 h 2344739"/>
              <a:gd name="connsiteX216" fmla="*/ 596792 w 12192001"/>
              <a:gd name="connsiteY216" fmla="*/ 1879864 h 2344739"/>
              <a:gd name="connsiteX217" fmla="*/ 578535 w 12192001"/>
              <a:gd name="connsiteY217" fmla="*/ 1877212 h 2344739"/>
              <a:gd name="connsiteX218" fmla="*/ 571717 w 12192001"/>
              <a:gd name="connsiteY218" fmla="*/ 1877401 h 2344739"/>
              <a:gd name="connsiteX219" fmla="*/ 445099 w 12192001"/>
              <a:gd name="connsiteY219" fmla="*/ 1839371 h 2344739"/>
              <a:gd name="connsiteX220" fmla="*/ 404015 w 12192001"/>
              <a:gd name="connsiteY220" fmla="*/ 1833548 h 2344739"/>
              <a:gd name="connsiteX221" fmla="*/ 292435 w 12192001"/>
              <a:gd name="connsiteY221" fmla="*/ 1812852 h 2344739"/>
              <a:gd name="connsiteX222" fmla="*/ 118381 w 12192001"/>
              <a:gd name="connsiteY222" fmla="*/ 1761047 h 2344739"/>
              <a:gd name="connsiteX223" fmla="*/ 15526 w 12192001"/>
              <a:gd name="connsiteY223" fmla="*/ 1758191 h 2344739"/>
              <a:gd name="connsiteX224" fmla="*/ 2 w 12192001"/>
              <a:gd name="connsiteY224" fmla="*/ 1752722 h 2344739"/>
              <a:gd name="connsiteX225" fmla="*/ 1 w 12192001"/>
              <a:gd name="connsiteY225" fmla="*/ 762497 h 2344739"/>
              <a:gd name="connsiteX226" fmla="*/ 0 w 12192001"/>
              <a:gd name="connsiteY226" fmla="*/ 762497 h 2344739"/>
              <a:gd name="connsiteX227" fmla="*/ 0 w 12192001"/>
              <a:gd name="connsiteY227" fmla="*/ 222213 h 2344739"/>
              <a:gd name="connsiteX228" fmla="*/ 0 w 12192001"/>
              <a:gd name="connsiteY228"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05669 w 12192001"/>
              <a:gd name="connsiteY25" fmla="*/ 1033623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13812 w 12192001"/>
              <a:gd name="connsiteY69" fmla="*/ 1919069 h 2344739"/>
              <a:gd name="connsiteX70" fmla="*/ 9053453 w 12192001"/>
              <a:gd name="connsiteY70" fmla="*/ 1910755 h 2344739"/>
              <a:gd name="connsiteX71" fmla="*/ 9005486 w 12192001"/>
              <a:gd name="connsiteY71" fmla="*/ 1914040 h 2344739"/>
              <a:gd name="connsiteX72" fmla="*/ 9005201 w 12192001"/>
              <a:gd name="connsiteY72" fmla="*/ 1913800 h 2344739"/>
              <a:gd name="connsiteX73" fmla="*/ 8996232 w 12192001"/>
              <a:gd name="connsiteY73" fmla="*/ 1915011 h 2344739"/>
              <a:gd name="connsiteX74" fmla="*/ 8990394 w 12192001"/>
              <a:gd name="connsiteY74" fmla="*/ 1917072 h 2344739"/>
              <a:gd name="connsiteX75" fmla="*/ 8974337 w 12192001"/>
              <a:gd name="connsiteY75" fmla="*/ 1920298 h 2344739"/>
              <a:gd name="connsiteX76" fmla="*/ 8968011 w 12192001"/>
              <a:gd name="connsiteY76" fmla="*/ 1919598 h 2344739"/>
              <a:gd name="connsiteX77" fmla="*/ 8963048 w 12192001"/>
              <a:gd name="connsiteY77" fmla="*/ 1917373 h 2344739"/>
              <a:gd name="connsiteX78" fmla="*/ 8928988 w 12192001"/>
              <a:gd name="connsiteY78" fmla="*/ 1914185 h 2344739"/>
              <a:gd name="connsiteX79" fmla="*/ 8752444 w 12192001"/>
              <a:gd name="connsiteY79" fmla="*/ 1933417 h 2344739"/>
              <a:gd name="connsiteX80" fmla="*/ 8707847 w 12192001"/>
              <a:gd name="connsiteY80" fmla="*/ 1935518 h 2344739"/>
              <a:gd name="connsiteX81" fmla="*/ 8596071 w 12192001"/>
              <a:gd name="connsiteY81" fmla="*/ 1944090 h 2344739"/>
              <a:gd name="connsiteX82" fmla="*/ 8525230 w 12192001"/>
              <a:gd name="connsiteY82" fmla="*/ 1929248 h 2344739"/>
              <a:gd name="connsiteX83" fmla="*/ 8510983 w 12192001"/>
              <a:gd name="connsiteY83" fmla="*/ 1935163 h 2344739"/>
              <a:gd name="connsiteX84" fmla="*/ 8506167 w 12192001"/>
              <a:gd name="connsiteY84" fmla="*/ 1938164 h 2344739"/>
              <a:gd name="connsiteX85" fmla="*/ 8497968 w 12192001"/>
              <a:gd name="connsiteY85" fmla="*/ 1940902 h 2344739"/>
              <a:gd name="connsiteX86" fmla="*/ 8497594 w 12192001"/>
              <a:gd name="connsiteY86" fmla="*/ 1940723 h 2344739"/>
              <a:gd name="connsiteX87" fmla="*/ 8490249 w 12192001"/>
              <a:gd name="connsiteY87" fmla="*/ 1943773 h 2344739"/>
              <a:gd name="connsiteX88" fmla="*/ 8367182 w 12192001"/>
              <a:gd name="connsiteY88" fmla="*/ 1957815 h 2344739"/>
              <a:gd name="connsiteX89" fmla="*/ 8353799 w 12192001"/>
              <a:gd name="connsiteY89" fmla="*/ 1958009 h 2344739"/>
              <a:gd name="connsiteX90" fmla="*/ 8352373 w 12192001"/>
              <a:gd name="connsiteY90" fmla="*/ 1957169 h 2344739"/>
              <a:gd name="connsiteX91" fmla="*/ 8320104 w 12192001"/>
              <a:gd name="connsiteY91" fmla="*/ 1974587 h 2344739"/>
              <a:gd name="connsiteX92" fmla="*/ 8314433 w 12192001"/>
              <a:gd name="connsiteY92" fmla="*/ 1974913 h 2344739"/>
              <a:gd name="connsiteX93" fmla="*/ 8295174 w 12192001"/>
              <a:gd name="connsiteY93" fmla="*/ 1988808 h 2344739"/>
              <a:gd name="connsiteX94" fmla="*/ 8284276 w 12192001"/>
              <a:gd name="connsiteY94" fmla="*/ 1994631 h 2344739"/>
              <a:gd name="connsiteX95" fmla="*/ 8283150 w 12192001"/>
              <a:gd name="connsiteY95" fmla="*/ 1999074 h 2344739"/>
              <a:gd name="connsiteX96" fmla="*/ 8266076 w 12192001"/>
              <a:gd name="connsiteY96" fmla="*/ 2006249 h 2344739"/>
              <a:gd name="connsiteX97" fmla="*/ 8263377 w 12192001"/>
              <a:gd name="connsiteY97" fmla="*/ 2006019 h 2344739"/>
              <a:gd name="connsiteX98" fmla="*/ 8252033 w 12192001"/>
              <a:gd name="connsiteY98" fmla="*/ 2015862 h 2344739"/>
              <a:gd name="connsiteX99" fmla="*/ 8245834 w 12192001"/>
              <a:gd name="connsiteY99" fmla="*/ 2028854 h 2344739"/>
              <a:gd name="connsiteX100" fmla="*/ 8090272 w 12192001"/>
              <a:gd name="connsiteY100" fmla="*/ 2075015 h 2344739"/>
              <a:gd name="connsiteX101" fmla="*/ 7905407 w 12192001"/>
              <a:gd name="connsiteY101" fmla="*/ 2116988 h 2344739"/>
              <a:gd name="connsiteX102" fmla="*/ 7718745 w 12192001"/>
              <a:gd name="connsiteY102" fmla="*/ 2142703 h 2344739"/>
              <a:gd name="connsiteX103" fmla="*/ 7614347 w 12192001"/>
              <a:gd name="connsiteY103" fmla="*/ 2139232 h 2344739"/>
              <a:gd name="connsiteX104" fmla="*/ 7527543 w 12192001"/>
              <a:gd name="connsiteY104" fmla="*/ 2145060 h 2344739"/>
              <a:gd name="connsiteX105" fmla="*/ 7519571 w 12192001"/>
              <a:gd name="connsiteY105" fmla="*/ 2147613 h 2344739"/>
              <a:gd name="connsiteX106" fmla="*/ 7507411 w 12192001"/>
              <a:gd name="connsiteY106" fmla="*/ 2148948 h 2344739"/>
              <a:gd name="connsiteX107" fmla="*/ 7507040 w 12192001"/>
              <a:gd name="connsiteY107" fmla="*/ 2148621 h 2344739"/>
              <a:gd name="connsiteX108" fmla="*/ 7495795 w 12192001"/>
              <a:gd name="connsiteY108" fmla="*/ 2150573 h 2344739"/>
              <a:gd name="connsiteX109" fmla="*/ 7405391 w 12192001"/>
              <a:gd name="connsiteY109" fmla="*/ 2142468 h 2344739"/>
              <a:gd name="connsiteX110" fmla="*/ 7218559 w 12192001"/>
              <a:gd name="connsiteY110" fmla="*/ 2156680 h 2344739"/>
              <a:gd name="connsiteX111" fmla="*/ 7201101 w 12192001"/>
              <a:gd name="connsiteY111" fmla="*/ 2161230 h 2344739"/>
              <a:gd name="connsiteX112" fmla="*/ 7197004 w 12192001"/>
              <a:gd name="connsiteY112" fmla="*/ 2166588 h 2344739"/>
              <a:gd name="connsiteX113" fmla="*/ 7170808 w 12192001"/>
              <a:gd name="connsiteY113" fmla="*/ 2171236 h 2344739"/>
              <a:gd name="connsiteX114" fmla="*/ 7096988 w 12192001"/>
              <a:gd name="connsiteY114" fmla="*/ 2183464 h 2344739"/>
              <a:gd name="connsiteX115" fmla="*/ 7018496 w 12192001"/>
              <a:gd name="connsiteY115" fmla="*/ 2183090 h 2344739"/>
              <a:gd name="connsiteX116" fmla="*/ 6904146 w 12192001"/>
              <a:gd name="connsiteY116" fmla="*/ 2212596 h 2344739"/>
              <a:gd name="connsiteX117" fmla="*/ 6708222 w 12192001"/>
              <a:gd name="connsiteY117" fmla="*/ 2240551 h 2344739"/>
              <a:gd name="connsiteX118" fmla="*/ 6549454 w 12192001"/>
              <a:gd name="connsiteY118" fmla="*/ 2269327 h 2344739"/>
              <a:gd name="connsiteX119" fmla="*/ 6317560 w 12192001"/>
              <a:gd name="connsiteY119" fmla="*/ 2316127 h 2344739"/>
              <a:gd name="connsiteX120" fmla="*/ 6168674 w 12192001"/>
              <a:gd name="connsiteY120" fmla="*/ 2318214 h 2344739"/>
              <a:gd name="connsiteX121" fmla="*/ 6073848 w 12192001"/>
              <a:gd name="connsiteY121" fmla="*/ 2338676 h 2344739"/>
              <a:gd name="connsiteX122" fmla="*/ 6068529 w 12192001"/>
              <a:gd name="connsiteY122" fmla="*/ 2337139 h 2344739"/>
              <a:gd name="connsiteX123" fmla="*/ 6048638 w 12192001"/>
              <a:gd name="connsiteY123" fmla="*/ 2337822 h 2344739"/>
              <a:gd name="connsiteX124" fmla="*/ 6041285 w 12192001"/>
              <a:gd name="connsiteY124" fmla="*/ 2329473 h 2344739"/>
              <a:gd name="connsiteX125" fmla="*/ 6010090 w 12192001"/>
              <a:gd name="connsiteY125" fmla="*/ 2324380 h 2344739"/>
              <a:gd name="connsiteX126" fmla="*/ 5957375 w 12192001"/>
              <a:gd name="connsiteY126" fmla="*/ 2328024 h 2344739"/>
              <a:gd name="connsiteX127" fmla="*/ 5758919 w 12192001"/>
              <a:gd name="connsiteY127" fmla="*/ 2343716 h 2344739"/>
              <a:gd name="connsiteX128" fmla="*/ 5626960 w 12192001"/>
              <a:gd name="connsiteY128" fmla="*/ 2344739 h 2344739"/>
              <a:gd name="connsiteX129" fmla="*/ 5470906 w 12192001"/>
              <a:gd name="connsiteY129" fmla="*/ 2330719 h 2344739"/>
              <a:gd name="connsiteX130" fmla="*/ 5432761 w 12192001"/>
              <a:gd name="connsiteY130" fmla="*/ 2319466 h 2344739"/>
              <a:gd name="connsiteX131" fmla="*/ 5381669 w 12192001"/>
              <a:gd name="connsiteY131" fmla="*/ 2301764 h 2344739"/>
              <a:gd name="connsiteX132" fmla="*/ 5261764 w 12192001"/>
              <a:gd name="connsiteY132" fmla="*/ 2281347 h 2344739"/>
              <a:gd name="connsiteX133" fmla="*/ 5222961 w 12192001"/>
              <a:gd name="connsiteY133" fmla="*/ 2270223 h 2344739"/>
              <a:gd name="connsiteX134" fmla="*/ 5174660 w 12192001"/>
              <a:gd name="connsiteY134" fmla="*/ 2267233 h 2344739"/>
              <a:gd name="connsiteX135" fmla="*/ 5156554 w 12192001"/>
              <a:gd name="connsiteY135" fmla="*/ 2260010 h 2344739"/>
              <a:gd name="connsiteX136" fmla="*/ 5142599 w 12192001"/>
              <a:gd name="connsiteY136" fmla="*/ 2256610 h 2344739"/>
              <a:gd name="connsiteX137" fmla="*/ 5139596 w 12192001"/>
              <a:gd name="connsiteY137" fmla="*/ 2254509 h 2344739"/>
              <a:gd name="connsiteX138" fmla="*/ 5121659 w 12192001"/>
              <a:gd name="connsiteY138" fmla="*/ 2243656 h 2344739"/>
              <a:gd name="connsiteX139" fmla="*/ 5065790 w 12192001"/>
              <a:gd name="connsiteY139" fmla="*/ 2250227 h 2344739"/>
              <a:gd name="connsiteX140" fmla="*/ 5011514 w 12192001"/>
              <a:gd name="connsiteY140" fmla="*/ 2233846 h 2344739"/>
              <a:gd name="connsiteX141" fmla="*/ 4840441 w 12192001"/>
              <a:gd name="connsiteY141" fmla="*/ 2209829 h 2344739"/>
              <a:gd name="connsiteX142" fmla="*/ 4762447 w 12192001"/>
              <a:gd name="connsiteY142" fmla="*/ 2182061 h 2344739"/>
              <a:gd name="connsiteX143" fmla="*/ 4723186 w 12192001"/>
              <a:gd name="connsiteY143" fmla="*/ 2173047 h 2344739"/>
              <a:gd name="connsiteX144" fmla="*/ 4721176 w 12192001"/>
              <a:gd name="connsiteY144" fmla="*/ 2172298 h 2344739"/>
              <a:gd name="connsiteX145" fmla="*/ 4722111 w 12192001"/>
              <a:gd name="connsiteY145" fmla="*/ 2172087 h 2344739"/>
              <a:gd name="connsiteX146" fmla="*/ 4717202 w 12192001"/>
              <a:gd name="connsiteY146" fmla="*/ 2170817 h 2344739"/>
              <a:gd name="connsiteX147" fmla="*/ 4721176 w 12192001"/>
              <a:gd name="connsiteY147" fmla="*/ 2172298 h 2344739"/>
              <a:gd name="connsiteX148" fmla="*/ 4715526 w 12192001"/>
              <a:gd name="connsiteY148" fmla="*/ 2173573 h 2344739"/>
              <a:gd name="connsiteX149" fmla="*/ 4515814 w 12192001"/>
              <a:gd name="connsiteY149" fmla="*/ 2163671 h 2344739"/>
              <a:gd name="connsiteX150" fmla="*/ 4428543 w 12192001"/>
              <a:gd name="connsiteY150" fmla="*/ 2153020 h 2344739"/>
              <a:gd name="connsiteX151" fmla="*/ 4362875 w 12192001"/>
              <a:gd name="connsiteY151" fmla="*/ 2151674 h 2344739"/>
              <a:gd name="connsiteX152" fmla="*/ 4316966 w 12192001"/>
              <a:gd name="connsiteY152" fmla="*/ 2158289 h 2344739"/>
              <a:gd name="connsiteX153" fmla="*/ 4315110 w 12192001"/>
              <a:gd name="connsiteY153" fmla="*/ 2156948 h 2344739"/>
              <a:gd name="connsiteX154" fmla="*/ 4295144 w 12192001"/>
              <a:gd name="connsiteY154" fmla="*/ 2155069 h 2344739"/>
              <a:gd name="connsiteX155" fmla="*/ 4290064 w 12192001"/>
              <a:gd name="connsiteY155" fmla="*/ 2157986 h 2344739"/>
              <a:gd name="connsiteX156" fmla="*/ 4276142 w 12192001"/>
              <a:gd name="connsiteY156" fmla="*/ 2157740 h 2344739"/>
              <a:gd name="connsiteX157" fmla="*/ 4248117 w 12192001"/>
              <a:gd name="connsiteY157" fmla="*/ 2160064 h 2344739"/>
              <a:gd name="connsiteX158" fmla="*/ 4202051 w 12192001"/>
              <a:gd name="connsiteY158" fmla="*/ 2157269 h 2344739"/>
              <a:gd name="connsiteX159" fmla="*/ 4201745 w 12192001"/>
              <a:gd name="connsiteY159" fmla="*/ 2156010 h 2344739"/>
              <a:gd name="connsiteX160" fmla="*/ 4191248 w 12192001"/>
              <a:gd name="connsiteY160" fmla="*/ 2150376 h 2344739"/>
              <a:gd name="connsiteX161" fmla="*/ 4142745 w 12192001"/>
              <a:gd name="connsiteY161" fmla="*/ 2134511 h 2344739"/>
              <a:gd name="connsiteX162" fmla="*/ 4083097 w 12192001"/>
              <a:gd name="connsiteY162" fmla="*/ 2107978 h 2344739"/>
              <a:gd name="connsiteX163" fmla="*/ 4074546 w 12192001"/>
              <a:gd name="connsiteY163" fmla="*/ 2107143 h 2344739"/>
              <a:gd name="connsiteX164" fmla="*/ 4074427 w 12192001"/>
              <a:gd name="connsiteY164" fmla="*/ 2106844 h 2344739"/>
              <a:gd name="connsiteX165" fmla="*/ 4065510 w 12192001"/>
              <a:gd name="connsiteY165" fmla="*/ 2105400 h 2344739"/>
              <a:gd name="connsiteX166" fmla="*/ 4058954 w 12192001"/>
              <a:gd name="connsiteY166" fmla="*/ 2105618 h 2344739"/>
              <a:gd name="connsiteX167" fmla="*/ 4042364 w 12192001"/>
              <a:gd name="connsiteY167" fmla="*/ 2103997 h 2344739"/>
              <a:gd name="connsiteX168" fmla="*/ 4036997 w 12192001"/>
              <a:gd name="connsiteY168" fmla="*/ 2101563 h 2344739"/>
              <a:gd name="connsiteX169" fmla="*/ 4035363 w 12192001"/>
              <a:gd name="connsiteY169" fmla="*/ 2097896 h 2344739"/>
              <a:gd name="connsiteX170" fmla="*/ 4033778 w 12192001"/>
              <a:gd name="connsiteY170" fmla="*/ 2098131 h 2344739"/>
              <a:gd name="connsiteX171" fmla="*/ 4004538 w 12192001"/>
              <a:gd name="connsiteY171" fmla="*/ 2085563 h 2344739"/>
              <a:gd name="connsiteX172" fmla="*/ 3936846 w 12192001"/>
              <a:gd name="connsiteY172" fmla="*/ 2068106 h 2344739"/>
              <a:gd name="connsiteX173" fmla="*/ 3897275 w 12192001"/>
              <a:gd name="connsiteY173" fmla="*/ 2062451 h 2344739"/>
              <a:gd name="connsiteX174" fmla="*/ 3789760 w 12192001"/>
              <a:gd name="connsiteY174" fmla="*/ 2042213 h 2344739"/>
              <a:gd name="connsiteX175" fmla="*/ 3682513 w 12192001"/>
              <a:gd name="connsiteY175" fmla="*/ 2018290 h 2344739"/>
              <a:gd name="connsiteX176" fmla="*/ 3610035 w 12192001"/>
              <a:gd name="connsiteY176" fmla="*/ 1986019 h 2344739"/>
              <a:gd name="connsiteX177" fmla="*/ 3603855 w 12192001"/>
              <a:gd name="connsiteY177" fmla="*/ 1987381 h 2344739"/>
              <a:gd name="connsiteX178" fmla="*/ 3594736 w 12192001"/>
              <a:gd name="connsiteY178" fmla="*/ 1987545 h 2344739"/>
              <a:gd name="connsiteX179" fmla="*/ 3594501 w 12192001"/>
              <a:gd name="connsiteY179" fmla="*/ 1987276 h 2344739"/>
              <a:gd name="connsiteX180" fmla="*/ 3585978 w 12192001"/>
              <a:gd name="connsiteY180" fmla="*/ 1987966 h 2344739"/>
              <a:gd name="connsiteX181" fmla="*/ 3536135 w 12192001"/>
              <a:gd name="connsiteY181" fmla="*/ 1978267 h 2344739"/>
              <a:gd name="connsiteX182" fmla="*/ 3473223 w 12192001"/>
              <a:gd name="connsiteY182" fmla="*/ 1974606 h 2344739"/>
              <a:gd name="connsiteX183" fmla="*/ 3400728 w 12192001"/>
              <a:gd name="connsiteY183" fmla="*/ 1962558 h 2344739"/>
              <a:gd name="connsiteX184" fmla="*/ 3363888 w 12192001"/>
              <a:gd name="connsiteY184" fmla="*/ 1979510 h 2344739"/>
              <a:gd name="connsiteX185" fmla="*/ 3344026 w 12192001"/>
              <a:gd name="connsiteY185" fmla="*/ 1981192 h 2344739"/>
              <a:gd name="connsiteX186" fmla="*/ 3341698 w 12192001"/>
              <a:gd name="connsiteY186" fmla="*/ 1980217 h 2344739"/>
              <a:gd name="connsiteX187" fmla="*/ 3262356 w 12192001"/>
              <a:gd name="connsiteY187" fmla="*/ 1986094 h 2344739"/>
              <a:gd name="connsiteX188" fmla="*/ 3142556 w 12192001"/>
              <a:gd name="connsiteY188" fmla="*/ 1993869 h 2344739"/>
              <a:gd name="connsiteX189" fmla="*/ 3030291 w 12192001"/>
              <a:gd name="connsiteY189" fmla="*/ 1996512 h 2344739"/>
              <a:gd name="connsiteX190" fmla="*/ 2781569 w 12192001"/>
              <a:gd name="connsiteY190" fmla="*/ 2018333 h 2344739"/>
              <a:gd name="connsiteX191" fmla="*/ 2646527 w 12192001"/>
              <a:gd name="connsiteY191" fmla="*/ 2028869 h 2344739"/>
              <a:gd name="connsiteX192" fmla="*/ 2568028 w 12192001"/>
              <a:gd name="connsiteY192" fmla="*/ 2002628 h 2344739"/>
              <a:gd name="connsiteX193" fmla="*/ 2443255 w 12192001"/>
              <a:gd name="connsiteY193" fmla="*/ 2016529 h 2344739"/>
              <a:gd name="connsiteX194" fmla="*/ 2315112 w 12192001"/>
              <a:gd name="connsiteY194" fmla="*/ 2024996 h 2344739"/>
              <a:gd name="connsiteX195" fmla="*/ 2208578 w 12192001"/>
              <a:gd name="connsiteY195" fmla="*/ 2019763 h 2344739"/>
              <a:gd name="connsiteX196" fmla="*/ 2094665 w 12192001"/>
              <a:gd name="connsiteY196" fmla="*/ 2003052 h 2344739"/>
              <a:gd name="connsiteX197" fmla="*/ 1997356 w 12192001"/>
              <a:gd name="connsiteY197" fmla="*/ 1995032 h 2344739"/>
              <a:gd name="connsiteX198" fmla="*/ 1928172 w 12192001"/>
              <a:gd name="connsiteY198" fmla="*/ 2016977 h 2344739"/>
              <a:gd name="connsiteX199" fmla="*/ 1921650 w 12192001"/>
              <a:gd name="connsiteY199" fmla="*/ 2012146 h 2344739"/>
              <a:gd name="connsiteX200" fmla="*/ 1873080 w 12192001"/>
              <a:gd name="connsiteY200" fmla="*/ 2013741 h 2344739"/>
              <a:gd name="connsiteX201" fmla="*/ 1786655 w 12192001"/>
              <a:gd name="connsiteY201" fmla="*/ 2041363 h 2344739"/>
              <a:gd name="connsiteX202" fmla="*/ 1738204 w 12192001"/>
              <a:gd name="connsiteY202" fmla="*/ 2036312 h 2344739"/>
              <a:gd name="connsiteX203" fmla="*/ 1675071 w 12192001"/>
              <a:gd name="connsiteY203" fmla="*/ 2019963 h 2344739"/>
              <a:gd name="connsiteX204" fmla="*/ 1608669 w 12192001"/>
              <a:gd name="connsiteY204" fmla="*/ 2013066 h 2344739"/>
              <a:gd name="connsiteX205" fmla="*/ 1496110 w 12192001"/>
              <a:gd name="connsiteY205" fmla="*/ 1987476 h 2344739"/>
              <a:gd name="connsiteX206" fmla="*/ 1149979 w 12192001"/>
              <a:gd name="connsiteY206" fmla="*/ 1938041 h 2344739"/>
              <a:gd name="connsiteX207" fmla="*/ 858269 w 12192001"/>
              <a:gd name="connsiteY207" fmla="*/ 1928608 h 2344739"/>
              <a:gd name="connsiteX208" fmla="*/ 837540 w 12192001"/>
              <a:gd name="connsiteY208" fmla="*/ 1929821 h 2344739"/>
              <a:gd name="connsiteX209" fmla="*/ 816809 w 12192001"/>
              <a:gd name="connsiteY209" fmla="*/ 1927857 h 2344739"/>
              <a:gd name="connsiteX210" fmla="*/ 811506 w 12192001"/>
              <a:gd name="connsiteY210" fmla="*/ 1930751 h 2344739"/>
              <a:gd name="connsiteX211" fmla="*/ 767901 w 12192001"/>
              <a:gd name="connsiteY211" fmla="*/ 1932653 h 2344739"/>
              <a:gd name="connsiteX212" fmla="*/ 720047 w 12192001"/>
              <a:gd name="connsiteY212" fmla="*/ 1929661 h 2344739"/>
              <a:gd name="connsiteX213" fmla="*/ 719742 w 12192001"/>
              <a:gd name="connsiteY213" fmla="*/ 1928399 h 2344739"/>
              <a:gd name="connsiteX214" fmla="*/ 708875 w 12192001"/>
              <a:gd name="connsiteY214" fmla="*/ 1922722 h 2344739"/>
              <a:gd name="connsiteX215" fmla="*/ 596792 w 12192001"/>
              <a:gd name="connsiteY215" fmla="*/ 1879864 h 2344739"/>
              <a:gd name="connsiteX216" fmla="*/ 578535 w 12192001"/>
              <a:gd name="connsiteY216" fmla="*/ 1877212 h 2344739"/>
              <a:gd name="connsiteX217" fmla="*/ 571717 w 12192001"/>
              <a:gd name="connsiteY217" fmla="*/ 1877401 h 2344739"/>
              <a:gd name="connsiteX218" fmla="*/ 445099 w 12192001"/>
              <a:gd name="connsiteY218" fmla="*/ 1839371 h 2344739"/>
              <a:gd name="connsiteX219" fmla="*/ 404015 w 12192001"/>
              <a:gd name="connsiteY219" fmla="*/ 1833548 h 2344739"/>
              <a:gd name="connsiteX220" fmla="*/ 292435 w 12192001"/>
              <a:gd name="connsiteY220" fmla="*/ 1812852 h 2344739"/>
              <a:gd name="connsiteX221" fmla="*/ 118381 w 12192001"/>
              <a:gd name="connsiteY221" fmla="*/ 1761047 h 2344739"/>
              <a:gd name="connsiteX222" fmla="*/ 15526 w 12192001"/>
              <a:gd name="connsiteY222" fmla="*/ 1758191 h 2344739"/>
              <a:gd name="connsiteX223" fmla="*/ 2 w 12192001"/>
              <a:gd name="connsiteY223" fmla="*/ 1752722 h 2344739"/>
              <a:gd name="connsiteX224" fmla="*/ 1 w 12192001"/>
              <a:gd name="connsiteY224" fmla="*/ 762497 h 2344739"/>
              <a:gd name="connsiteX225" fmla="*/ 0 w 12192001"/>
              <a:gd name="connsiteY225" fmla="*/ 762497 h 2344739"/>
              <a:gd name="connsiteX226" fmla="*/ 0 w 12192001"/>
              <a:gd name="connsiteY226" fmla="*/ 222213 h 2344739"/>
              <a:gd name="connsiteX227" fmla="*/ 0 w 12192001"/>
              <a:gd name="connsiteY227"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05669 w 12192001"/>
              <a:gd name="connsiteY25" fmla="*/ 1033623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13812 w 12192001"/>
              <a:gd name="connsiteY69" fmla="*/ 1919069 h 2344739"/>
              <a:gd name="connsiteX70" fmla="*/ 9053453 w 12192001"/>
              <a:gd name="connsiteY70" fmla="*/ 1910755 h 2344739"/>
              <a:gd name="connsiteX71" fmla="*/ 9005486 w 12192001"/>
              <a:gd name="connsiteY71" fmla="*/ 1914040 h 2344739"/>
              <a:gd name="connsiteX72" fmla="*/ 9005201 w 12192001"/>
              <a:gd name="connsiteY72" fmla="*/ 1913800 h 2344739"/>
              <a:gd name="connsiteX73" fmla="*/ 8996232 w 12192001"/>
              <a:gd name="connsiteY73" fmla="*/ 1915011 h 2344739"/>
              <a:gd name="connsiteX74" fmla="*/ 8990394 w 12192001"/>
              <a:gd name="connsiteY74" fmla="*/ 1917072 h 2344739"/>
              <a:gd name="connsiteX75" fmla="*/ 8974337 w 12192001"/>
              <a:gd name="connsiteY75" fmla="*/ 1920298 h 2344739"/>
              <a:gd name="connsiteX76" fmla="*/ 8968011 w 12192001"/>
              <a:gd name="connsiteY76" fmla="*/ 1919598 h 2344739"/>
              <a:gd name="connsiteX77" fmla="*/ 8963048 w 12192001"/>
              <a:gd name="connsiteY77" fmla="*/ 1917373 h 2344739"/>
              <a:gd name="connsiteX78" fmla="*/ 8928988 w 12192001"/>
              <a:gd name="connsiteY78" fmla="*/ 1914185 h 2344739"/>
              <a:gd name="connsiteX79" fmla="*/ 8752444 w 12192001"/>
              <a:gd name="connsiteY79" fmla="*/ 1933417 h 2344739"/>
              <a:gd name="connsiteX80" fmla="*/ 8707847 w 12192001"/>
              <a:gd name="connsiteY80" fmla="*/ 1935518 h 2344739"/>
              <a:gd name="connsiteX81" fmla="*/ 8596071 w 12192001"/>
              <a:gd name="connsiteY81" fmla="*/ 1944090 h 2344739"/>
              <a:gd name="connsiteX82" fmla="*/ 8525230 w 12192001"/>
              <a:gd name="connsiteY82" fmla="*/ 1929248 h 2344739"/>
              <a:gd name="connsiteX83" fmla="*/ 8510983 w 12192001"/>
              <a:gd name="connsiteY83" fmla="*/ 1935163 h 2344739"/>
              <a:gd name="connsiteX84" fmla="*/ 8506167 w 12192001"/>
              <a:gd name="connsiteY84" fmla="*/ 1938164 h 2344739"/>
              <a:gd name="connsiteX85" fmla="*/ 8497968 w 12192001"/>
              <a:gd name="connsiteY85" fmla="*/ 1940902 h 2344739"/>
              <a:gd name="connsiteX86" fmla="*/ 8497594 w 12192001"/>
              <a:gd name="connsiteY86" fmla="*/ 1940723 h 2344739"/>
              <a:gd name="connsiteX87" fmla="*/ 8490249 w 12192001"/>
              <a:gd name="connsiteY87" fmla="*/ 1943773 h 2344739"/>
              <a:gd name="connsiteX88" fmla="*/ 8367182 w 12192001"/>
              <a:gd name="connsiteY88" fmla="*/ 1957815 h 2344739"/>
              <a:gd name="connsiteX89" fmla="*/ 8353799 w 12192001"/>
              <a:gd name="connsiteY89" fmla="*/ 1958009 h 2344739"/>
              <a:gd name="connsiteX90" fmla="*/ 8352373 w 12192001"/>
              <a:gd name="connsiteY90" fmla="*/ 1957169 h 2344739"/>
              <a:gd name="connsiteX91" fmla="*/ 8320104 w 12192001"/>
              <a:gd name="connsiteY91" fmla="*/ 1974587 h 2344739"/>
              <a:gd name="connsiteX92" fmla="*/ 8314433 w 12192001"/>
              <a:gd name="connsiteY92" fmla="*/ 1974913 h 2344739"/>
              <a:gd name="connsiteX93" fmla="*/ 8295174 w 12192001"/>
              <a:gd name="connsiteY93" fmla="*/ 1988808 h 2344739"/>
              <a:gd name="connsiteX94" fmla="*/ 8284276 w 12192001"/>
              <a:gd name="connsiteY94" fmla="*/ 1994631 h 2344739"/>
              <a:gd name="connsiteX95" fmla="*/ 8283150 w 12192001"/>
              <a:gd name="connsiteY95" fmla="*/ 1999074 h 2344739"/>
              <a:gd name="connsiteX96" fmla="*/ 8266076 w 12192001"/>
              <a:gd name="connsiteY96" fmla="*/ 2006249 h 2344739"/>
              <a:gd name="connsiteX97" fmla="*/ 8263377 w 12192001"/>
              <a:gd name="connsiteY97" fmla="*/ 2006019 h 2344739"/>
              <a:gd name="connsiteX98" fmla="*/ 8252033 w 12192001"/>
              <a:gd name="connsiteY98" fmla="*/ 2015862 h 2344739"/>
              <a:gd name="connsiteX99" fmla="*/ 8245834 w 12192001"/>
              <a:gd name="connsiteY99" fmla="*/ 2028854 h 2344739"/>
              <a:gd name="connsiteX100" fmla="*/ 8090272 w 12192001"/>
              <a:gd name="connsiteY100" fmla="*/ 2075015 h 2344739"/>
              <a:gd name="connsiteX101" fmla="*/ 7905407 w 12192001"/>
              <a:gd name="connsiteY101" fmla="*/ 2116988 h 2344739"/>
              <a:gd name="connsiteX102" fmla="*/ 7718745 w 12192001"/>
              <a:gd name="connsiteY102" fmla="*/ 2142703 h 2344739"/>
              <a:gd name="connsiteX103" fmla="*/ 7614347 w 12192001"/>
              <a:gd name="connsiteY103" fmla="*/ 2139232 h 2344739"/>
              <a:gd name="connsiteX104" fmla="*/ 7527543 w 12192001"/>
              <a:gd name="connsiteY104" fmla="*/ 2145060 h 2344739"/>
              <a:gd name="connsiteX105" fmla="*/ 7519571 w 12192001"/>
              <a:gd name="connsiteY105" fmla="*/ 2147613 h 2344739"/>
              <a:gd name="connsiteX106" fmla="*/ 7507411 w 12192001"/>
              <a:gd name="connsiteY106" fmla="*/ 2148948 h 2344739"/>
              <a:gd name="connsiteX107" fmla="*/ 7507040 w 12192001"/>
              <a:gd name="connsiteY107" fmla="*/ 2148621 h 2344739"/>
              <a:gd name="connsiteX108" fmla="*/ 7495795 w 12192001"/>
              <a:gd name="connsiteY108" fmla="*/ 2150573 h 2344739"/>
              <a:gd name="connsiteX109" fmla="*/ 7405391 w 12192001"/>
              <a:gd name="connsiteY109" fmla="*/ 2142468 h 2344739"/>
              <a:gd name="connsiteX110" fmla="*/ 7218559 w 12192001"/>
              <a:gd name="connsiteY110" fmla="*/ 2156680 h 2344739"/>
              <a:gd name="connsiteX111" fmla="*/ 7201101 w 12192001"/>
              <a:gd name="connsiteY111" fmla="*/ 2161230 h 2344739"/>
              <a:gd name="connsiteX112" fmla="*/ 7197004 w 12192001"/>
              <a:gd name="connsiteY112" fmla="*/ 2166588 h 2344739"/>
              <a:gd name="connsiteX113" fmla="*/ 7170808 w 12192001"/>
              <a:gd name="connsiteY113" fmla="*/ 2171236 h 2344739"/>
              <a:gd name="connsiteX114" fmla="*/ 7096988 w 12192001"/>
              <a:gd name="connsiteY114" fmla="*/ 2183464 h 2344739"/>
              <a:gd name="connsiteX115" fmla="*/ 7018496 w 12192001"/>
              <a:gd name="connsiteY115" fmla="*/ 2183090 h 2344739"/>
              <a:gd name="connsiteX116" fmla="*/ 6904146 w 12192001"/>
              <a:gd name="connsiteY116" fmla="*/ 2212596 h 2344739"/>
              <a:gd name="connsiteX117" fmla="*/ 6708222 w 12192001"/>
              <a:gd name="connsiteY117" fmla="*/ 2240551 h 2344739"/>
              <a:gd name="connsiteX118" fmla="*/ 6549454 w 12192001"/>
              <a:gd name="connsiteY118" fmla="*/ 2269327 h 2344739"/>
              <a:gd name="connsiteX119" fmla="*/ 6317560 w 12192001"/>
              <a:gd name="connsiteY119" fmla="*/ 2316127 h 2344739"/>
              <a:gd name="connsiteX120" fmla="*/ 6168674 w 12192001"/>
              <a:gd name="connsiteY120" fmla="*/ 2318214 h 2344739"/>
              <a:gd name="connsiteX121" fmla="*/ 6073848 w 12192001"/>
              <a:gd name="connsiteY121" fmla="*/ 2338676 h 2344739"/>
              <a:gd name="connsiteX122" fmla="*/ 6068529 w 12192001"/>
              <a:gd name="connsiteY122" fmla="*/ 2337139 h 2344739"/>
              <a:gd name="connsiteX123" fmla="*/ 6048638 w 12192001"/>
              <a:gd name="connsiteY123" fmla="*/ 2337822 h 2344739"/>
              <a:gd name="connsiteX124" fmla="*/ 6041285 w 12192001"/>
              <a:gd name="connsiteY124" fmla="*/ 2329473 h 2344739"/>
              <a:gd name="connsiteX125" fmla="*/ 6010090 w 12192001"/>
              <a:gd name="connsiteY125" fmla="*/ 2324380 h 2344739"/>
              <a:gd name="connsiteX126" fmla="*/ 5957375 w 12192001"/>
              <a:gd name="connsiteY126" fmla="*/ 2328024 h 2344739"/>
              <a:gd name="connsiteX127" fmla="*/ 5758919 w 12192001"/>
              <a:gd name="connsiteY127" fmla="*/ 2343716 h 2344739"/>
              <a:gd name="connsiteX128" fmla="*/ 5626960 w 12192001"/>
              <a:gd name="connsiteY128" fmla="*/ 2344739 h 2344739"/>
              <a:gd name="connsiteX129" fmla="*/ 5470906 w 12192001"/>
              <a:gd name="connsiteY129" fmla="*/ 2330719 h 2344739"/>
              <a:gd name="connsiteX130" fmla="*/ 5432761 w 12192001"/>
              <a:gd name="connsiteY130" fmla="*/ 2319466 h 2344739"/>
              <a:gd name="connsiteX131" fmla="*/ 5381669 w 12192001"/>
              <a:gd name="connsiteY131" fmla="*/ 2301764 h 2344739"/>
              <a:gd name="connsiteX132" fmla="*/ 5261764 w 12192001"/>
              <a:gd name="connsiteY132" fmla="*/ 2281347 h 2344739"/>
              <a:gd name="connsiteX133" fmla="*/ 5222961 w 12192001"/>
              <a:gd name="connsiteY133" fmla="*/ 2270223 h 2344739"/>
              <a:gd name="connsiteX134" fmla="*/ 5174660 w 12192001"/>
              <a:gd name="connsiteY134" fmla="*/ 2267233 h 2344739"/>
              <a:gd name="connsiteX135" fmla="*/ 5156554 w 12192001"/>
              <a:gd name="connsiteY135" fmla="*/ 2260010 h 2344739"/>
              <a:gd name="connsiteX136" fmla="*/ 5142599 w 12192001"/>
              <a:gd name="connsiteY136" fmla="*/ 2256610 h 2344739"/>
              <a:gd name="connsiteX137" fmla="*/ 5139596 w 12192001"/>
              <a:gd name="connsiteY137" fmla="*/ 2254509 h 2344739"/>
              <a:gd name="connsiteX138" fmla="*/ 5121659 w 12192001"/>
              <a:gd name="connsiteY138" fmla="*/ 2243656 h 2344739"/>
              <a:gd name="connsiteX139" fmla="*/ 5065790 w 12192001"/>
              <a:gd name="connsiteY139" fmla="*/ 2250227 h 2344739"/>
              <a:gd name="connsiteX140" fmla="*/ 5011514 w 12192001"/>
              <a:gd name="connsiteY140" fmla="*/ 2233846 h 2344739"/>
              <a:gd name="connsiteX141" fmla="*/ 4840441 w 12192001"/>
              <a:gd name="connsiteY141" fmla="*/ 2209829 h 2344739"/>
              <a:gd name="connsiteX142" fmla="*/ 4762447 w 12192001"/>
              <a:gd name="connsiteY142" fmla="*/ 2182061 h 2344739"/>
              <a:gd name="connsiteX143" fmla="*/ 4723186 w 12192001"/>
              <a:gd name="connsiteY143" fmla="*/ 2173047 h 2344739"/>
              <a:gd name="connsiteX144" fmla="*/ 4721176 w 12192001"/>
              <a:gd name="connsiteY144" fmla="*/ 2172298 h 2344739"/>
              <a:gd name="connsiteX145" fmla="*/ 4722111 w 12192001"/>
              <a:gd name="connsiteY145" fmla="*/ 2172087 h 2344739"/>
              <a:gd name="connsiteX146" fmla="*/ 4717202 w 12192001"/>
              <a:gd name="connsiteY146" fmla="*/ 2170817 h 2344739"/>
              <a:gd name="connsiteX147" fmla="*/ 4721176 w 12192001"/>
              <a:gd name="connsiteY147" fmla="*/ 2172298 h 2344739"/>
              <a:gd name="connsiteX148" fmla="*/ 4715526 w 12192001"/>
              <a:gd name="connsiteY148" fmla="*/ 2173573 h 2344739"/>
              <a:gd name="connsiteX149" fmla="*/ 4515814 w 12192001"/>
              <a:gd name="connsiteY149" fmla="*/ 2163671 h 2344739"/>
              <a:gd name="connsiteX150" fmla="*/ 4428543 w 12192001"/>
              <a:gd name="connsiteY150" fmla="*/ 2153020 h 2344739"/>
              <a:gd name="connsiteX151" fmla="*/ 4362875 w 12192001"/>
              <a:gd name="connsiteY151" fmla="*/ 2151674 h 2344739"/>
              <a:gd name="connsiteX152" fmla="*/ 4316966 w 12192001"/>
              <a:gd name="connsiteY152" fmla="*/ 2158289 h 2344739"/>
              <a:gd name="connsiteX153" fmla="*/ 4315110 w 12192001"/>
              <a:gd name="connsiteY153" fmla="*/ 2156948 h 2344739"/>
              <a:gd name="connsiteX154" fmla="*/ 4295144 w 12192001"/>
              <a:gd name="connsiteY154" fmla="*/ 2155069 h 2344739"/>
              <a:gd name="connsiteX155" fmla="*/ 4290064 w 12192001"/>
              <a:gd name="connsiteY155" fmla="*/ 2157986 h 2344739"/>
              <a:gd name="connsiteX156" fmla="*/ 4276142 w 12192001"/>
              <a:gd name="connsiteY156" fmla="*/ 2157740 h 2344739"/>
              <a:gd name="connsiteX157" fmla="*/ 4248117 w 12192001"/>
              <a:gd name="connsiteY157" fmla="*/ 2160064 h 2344739"/>
              <a:gd name="connsiteX158" fmla="*/ 4202051 w 12192001"/>
              <a:gd name="connsiteY158" fmla="*/ 2157269 h 2344739"/>
              <a:gd name="connsiteX159" fmla="*/ 4201745 w 12192001"/>
              <a:gd name="connsiteY159" fmla="*/ 2156010 h 2344739"/>
              <a:gd name="connsiteX160" fmla="*/ 4191248 w 12192001"/>
              <a:gd name="connsiteY160" fmla="*/ 2150376 h 2344739"/>
              <a:gd name="connsiteX161" fmla="*/ 4142745 w 12192001"/>
              <a:gd name="connsiteY161" fmla="*/ 2134511 h 2344739"/>
              <a:gd name="connsiteX162" fmla="*/ 4083097 w 12192001"/>
              <a:gd name="connsiteY162" fmla="*/ 2107978 h 2344739"/>
              <a:gd name="connsiteX163" fmla="*/ 4074546 w 12192001"/>
              <a:gd name="connsiteY163" fmla="*/ 2107143 h 2344739"/>
              <a:gd name="connsiteX164" fmla="*/ 4074427 w 12192001"/>
              <a:gd name="connsiteY164" fmla="*/ 2106844 h 2344739"/>
              <a:gd name="connsiteX165" fmla="*/ 4065510 w 12192001"/>
              <a:gd name="connsiteY165" fmla="*/ 2105400 h 2344739"/>
              <a:gd name="connsiteX166" fmla="*/ 4058954 w 12192001"/>
              <a:gd name="connsiteY166" fmla="*/ 2105618 h 2344739"/>
              <a:gd name="connsiteX167" fmla="*/ 4042364 w 12192001"/>
              <a:gd name="connsiteY167" fmla="*/ 2103997 h 2344739"/>
              <a:gd name="connsiteX168" fmla="*/ 4036997 w 12192001"/>
              <a:gd name="connsiteY168" fmla="*/ 2101563 h 2344739"/>
              <a:gd name="connsiteX169" fmla="*/ 4035363 w 12192001"/>
              <a:gd name="connsiteY169" fmla="*/ 2097896 h 2344739"/>
              <a:gd name="connsiteX170" fmla="*/ 4033778 w 12192001"/>
              <a:gd name="connsiteY170" fmla="*/ 2098131 h 2344739"/>
              <a:gd name="connsiteX171" fmla="*/ 4004538 w 12192001"/>
              <a:gd name="connsiteY171" fmla="*/ 2085563 h 2344739"/>
              <a:gd name="connsiteX172" fmla="*/ 3936846 w 12192001"/>
              <a:gd name="connsiteY172" fmla="*/ 2068106 h 2344739"/>
              <a:gd name="connsiteX173" fmla="*/ 3897275 w 12192001"/>
              <a:gd name="connsiteY173" fmla="*/ 2062451 h 2344739"/>
              <a:gd name="connsiteX174" fmla="*/ 3789760 w 12192001"/>
              <a:gd name="connsiteY174" fmla="*/ 2042213 h 2344739"/>
              <a:gd name="connsiteX175" fmla="*/ 3682513 w 12192001"/>
              <a:gd name="connsiteY175" fmla="*/ 2018290 h 2344739"/>
              <a:gd name="connsiteX176" fmla="*/ 3610035 w 12192001"/>
              <a:gd name="connsiteY176" fmla="*/ 1986019 h 2344739"/>
              <a:gd name="connsiteX177" fmla="*/ 3603855 w 12192001"/>
              <a:gd name="connsiteY177" fmla="*/ 1987381 h 2344739"/>
              <a:gd name="connsiteX178" fmla="*/ 3594736 w 12192001"/>
              <a:gd name="connsiteY178" fmla="*/ 1987545 h 2344739"/>
              <a:gd name="connsiteX179" fmla="*/ 3594501 w 12192001"/>
              <a:gd name="connsiteY179" fmla="*/ 1987276 h 2344739"/>
              <a:gd name="connsiteX180" fmla="*/ 3585978 w 12192001"/>
              <a:gd name="connsiteY180" fmla="*/ 1987966 h 2344739"/>
              <a:gd name="connsiteX181" fmla="*/ 3536135 w 12192001"/>
              <a:gd name="connsiteY181" fmla="*/ 1978267 h 2344739"/>
              <a:gd name="connsiteX182" fmla="*/ 3473223 w 12192001"/>
              <a:gd name="connsiteY182" fmla="*/ 1974606 h 2344739"/>
              <a:gd name="connsiteX183" fmla="*/ 3400728 w 12192001"/>
              <a:gd name="connsiteY183" fmla="*/ 1962558 h 2344739"/>
              <a:gd name="connsiteX184" fmla="*/ 3363888 w 12192001"/>
              <a:gd name="connsiteY184" fmla="*/ 1979510 h 2344739"/>
              <a:gd name="connsiteX185" fmla="*/ 3344026 w 12192001"/>
              <a:gd name="connsiteY185" fmla="*/ 1981192 h 2344739"/>
              <a:gd name="connsiteX186" fmla="*/ 3341698 w 12192001"/>
              <a:gd name="connsiteY186" fmla="*/ 1980217 h 2344739"/>
              <a:gd name="connsiteX187" fmla="*/ 3262356 w 12192001"/>
              <a:gd name="connsiteY187" fmla="*/ 1986094 h 2344739"/>
              <a:gd name="connsiteX188" fmla="*/ 3142556 w 12192001"/>
              <a:gd name="connsiteY188" fmla="*/ 1993869 h 2344739"/>
              <a:gd name="connsiteX189" fmla="*/ 3030291 w 12192001"/>
              <a:gd name="connsiteY189" fmla="*/ 1996512 h 2344739"/>
              <a:gd name="connsiteX190" fmla="*/ 2781569 w 12192001"/>
              <a:gd name="connsiteY190" fmla="*/ 2018333 h 2344739"/>
              <a:gd name="connsiteX191" fmla="*/ 2646527 w 12192001"/>
              <a:gd name="connsiteY191" fmla="*/ 2028869 h 2344739"/>
              <a:gd name="connsiteX192" fmla="*/ 2568028 w 12192001"/>
              <a:gd name="connsiteY192" fmla="*/ 2002628 h 2344739"/>
              <a:gd name="connsiteX193" fmla="*/ 2443255 w 12192001"/>
              <a:gd name="connsiteY193" fmla="*/ 2016529 h 2344739"/>
              <a:gd name="connsiteX194" fmla="*/ 2315112 w 12192001"/>
              <a:gd name="connsiteY194" fmla="*/ 2024996 h 2344739"/>
              <a:gd name="connsiteX195" fmla="*/ 2208578 w 12192001"/>
              <a:gd name="connsiteY195" fmla="*/ 2019763 h 2344739"/>
              <a:gd name="connsiteX196" fmla="*/ 2094665 w 12192001"/>
              <a:gd name="connsiteY196" fmla="*/ 2003052 h 2344739"/>
              <a:gd name="connsiteX197" fmla="*/ 1997356 w 12192001"/>
              <a:gd name="connsiteY197" fmla="*/ 1995032 h 2344739"/>
              <a:gd name="connsiteX198" fmla="*/ 1928172 w 12192001"/>
              <a:gd name="connsiteY198" fmla="*/ 2016977 h 2344739"/>
              <a:gd name="connsiteX199" fmla="*/ 1921650 w 12192001"/>
              <a:gd name="connsiteY199" fmla="*/ 2012146 h 2344739"/>
              <a:gd name="connsiteX200" fmla="*/ 1873080 w 12192001"/>
              <a:gd name="connsiteY200" fmla="*/ 2013741 h 2344739"/>
              <a:gd name="connsiteX201" fmla="*/ 1786655 w 12192001"/>
              <a:gd name="connsiteY201" fmla="*/ 2041363 h 2344739"/>
              <a:gd name="connsiteX202" fmla="*/ 1738204 w 12192001"/>
              <a:gd name="connsiteY202" fmla="*/ 2036312 h 2344739"/>
              <a:gd name="connsiteX203" fmla="*/ 1675071 w 12192001"/>
              <a:gd name="connsiteY203" fmla="*/ 2019963 h 2344739"/>
              <a:gd name="connsiteX204" fmla="*/ 1608669 w 12192001"/>
              <a:gd name="connsiteY204" fmla="*/ 2013066 h 2344739"/>
              <a:gd name="connsiteX205" fmla="*/ 1496110 w 12192001"/>
              <a:gd name="connsiteY205" fmla="*/ 1987476 h 2344739"/>
              <a:gd name="connsiteX206" fmla="*/ 1149979 w 12192001"/>
              <a:gd name="connsiteY206" fmla="*/ 1938041 h 2344739"/>
              <a:gd name="connsiteX207" fmla="*/ 858269 w 12192001"/>
              <a:gd name="connsiteY207" fmla="*/ 1928608 h 2344739"/>
              <a:gd name="connsiteX208" fmla="*/ 837540 w 12192001"/>
              <a:gd name="connsiteY208" fmla="*/ 1929821 h 2344739"/>
              <a:gd name="connsiteX209" fmla="*/ 816809 w 12192001"/>
              <a:gd name="connsiteY209" fmla="*/ 1927857 h 2344739"/>
              <a:gd name="connsiteX210" fmla="*/ 811506 w 12192001"/>
              <a:gd name="connsiteY210" fmla="*/ 1930751 h 2344739"/>
              <a:gd name="connsiteX211" fmla="*/ 720047 w 12192001"/>
              <a:gd name="connsiteY211" fmla="*/ 1929661 h 2344739"/>
              <a:gd name="connsiteX212" fmla="*/ 719742 w 12192001"/>
              <a:gd name="connsiteY212" fmla="*/ 1928399 h 2344739"/>
              <a:gd name="connsiteX213" fmla="*/ 708875 w 12192001"/>
              <a:gd name="connsiteY213" fmla="*/ 1922722 h 2344739"/>
              <a:gd name="connsiteX214" fmla="*/ 596792 w 12192001"/>
              <a:gd name="connsiteY214" fmla="*/ 1879864 h 2344739"/>
              <a:gd name="connsiteX215" fmla="*/ 578535 w 12192001"/>
              <a:gd name="connsiteY215" fmla="*/ 1877212 h 2344739"/>
              <a:gd name="connsiteX216" fmla="*/ 571717 w 12192001"/>
              <a:gd name="connsiteY216" fmla="*/ 1877401 h 2344739"/>
              <a:gd name="connsiteX217" fmla="*/ 445099 w 12192001"/>
              <a:gd name="connsiteY217" fmla="*/ 1839371 h 2344739"/>
              <a:gd name="connsiteX218" fmla="*/ 404015 w 12192001"/>
              <a:gd name="connsiteY218" fmla="*/ 1833548 h 2344739"/>
              <a:gd name="connsiteX219" fmla="*/ 292435 w 12192001"/>
              <a:gd name="connsiteY219" fmla="*/ 1812852 h 2344739"/>
              <a:gd name="connsiteX220" fmla="*/ 118381 w 12192001"/>
              <a:gd name="connsiteY220" fmla="*/ 1761047 h 2344739"/>
              <a:gd name="connsiteX221" fmla="*/ 15526 w 12192001"/>
              <a:gd name="connsiteY221" fmla="*/ 1758191 h 2344739"/>
              <a:gd name="connsiteX222" fmla="*/ 2 w 12192001"/>
              <a:gd name="connsiteY222" fmla="*/ 1752722 h 2344739"/>
              <a:gd name="connsiteX223" fmla="*/ 1 w 12192001"/>
              <a:gd name="connsiteY223" fmla="*/ 762497 h 2344739"/>
              <a:gd name="connsiteX224" fmla="*/ 0 w 12192001"/>
              <a:gd name="connsiteY224" fmla="*/ 762497 h 2344739"/>
              <a:gd name="connsiteX225" fmla="*/ 0 w 12192001"/>
              <a:gd name="connsiteY225" fmla="*/ 222213 h 2344739"/>
              <a:gd name="connsiteX226" fmla="*/ 0 w 12192001"/>
              <a:gd name="connsiteY226" fmla="*/ 0 h 2344739"/>
              <a:gd name="connsiteX0" fmla="*/ 0 w 12192001"/>
              <a:gd name="connsiteY0" fmla="*/ 0 h 2344739"/>
              <a:gd name="connsiteX1" fmla="*/ 12192000 w 12192001"/>
              <a:gd name="connsiteY1" fmla="*/ 0 h 2344739"/>
              <a:gd name="connsiteX2" fmla="*/ 12192000 w 12192001"/>
              <a:gd name="connsiteY2" fmla="*/ 222213 h 2344739"/>
              <a:gd name="connsiteX3" fmla="*/ 12192000 w 12192001"/>
              <a:gd name="connsiteY3" fmla="*/ 389190 h 2344739"/>
              <a:gd name="connsiteX4" fmla="*/ 12192001 w 12192001"/>
              <a:gd name="connsiteY4" fmla="*/ 579739 h 2344739"/>
              <a:gd name="connsiteX5" fmla="*/ 12184838 w 12192001"/>
              <a:gd name="connsiteY5" fmla="*/ 584189 h 2344739"/>
              <a:gd name="connsiteX6" fmla="*/ 12155215 w 12192001"/>
              <a:gd name="connsiteY6" fmla="*/ 597366 h 2344739"/>
              <a:gd name="connsiteX7" fmla="*/ 12138067 w 12192001"/>
              <a:gd name="connsiteY7" fmla="*/ 623179 h 2344739"/>
              <a:gd name="connsiteX8" fmla="*/ 12125179 w 12192001"/>
              <a:gd name="connsiteY8" fmla="*/ 624690 h 2344739"/>
              <a:gd name="connsiteX9" fmla="*/ 12122859 w 12192001"/>
              <a:gd name="connsiteY9" fmla="*/ 624794 h 2344739"/>
              <a:gd name="connsiteX10" fmla="*/ 12115706 w 12192001"/>
              <a:gd name="connsiteY10" fmla="*/ 628608 h 2344739"/>
              <a:gd name="connsiteX11" fmla="*/ 12098349 w 12192001"/>
              <a:gd name="connsiteY11" fmla="*/ 628139 h 2344739"/>
              <a:gd name="connsiteX12" fmla="*/ 12085925 w 12192001"/>
              <a:gd name="connsiteY12" fmla="*/ 636341 h 2344739"/>
              <a:gd name="connsiteX13" fmla="*/ 12029925 w 12192001"/>
              <a:gd name="connsiteY13" fmla="*/ 680009 h 2344739"/>
              <a:gd name="connsiteX14" fmla="*/ 11994685 w 12192001"/>
              <a:gd name="connsiteY14" fmla="*/ 703458 h 2344739"/>
              <a:gd name="connsiteX15" fmla="*/ 11978569 w 12192001"/>
              <a:gd name="connsiteY15" fmla="*/ 708161 h 2344739"/>
              <a:gd name="connsiteX16" fmla="*/ 11957898 w 12192001"/>
              <a:gd name="connsiteY16" fmla="*/ 717558 h 2344739"/>
              <a:gd name="connsiteX17" fmla="*/ 11919306 w 12192001"/>
              <a:gd name="connsiteY17" fmla="*/ 730883 h 2344739"/>
              <a:gd name="connsiteX18" fmla="*/ 11902508 w 12192001"/>
              <a:gd name="connsiteY18" fmla="*/ 742426 h 2344739"/>
              <a:gd name="connsiteX19" fmla="*/ 11893900 w 12192001"/>
              <a:gd name="connsiteY19" fmla="*/ 744791 h 2344739"/>
              <a:gd name="connsiteX20" fmla="*/ 11890820 w 12192001"/>
              <a:gd name="connsiteY20" fmla="*/ 755729 h 2344739"/>
              <a:gd name="connsiteX21" fmla="*/ 11869628 w 12192001"/>
              <a:gd name="connsiteY21" fmla="*/ 777816 h 2344739"/>
              <a:gd name="connsiteX22" fmla="*/ 11812228 w 12192001"/>
              <a:gd name="connsiteY22" fmla="*/ 797659 h 2344739"/>
              <a:gd name="connsiteX23" fmla="*/ 11748619 w 12192001"/>
              <a:gd name="connsiteY23" fmla="*/ 872002 h 2344739"/>
              <a:gd name="connsiteX24" fmla="*/ 11589545 w 12192001"/>
              <a:gd name="connsiteY24" fmla="*/ 963777 h 2344739"/>
              <a:gd name="connsiteX25" fmla="*/ 11505669 w 12192001"/>
              <a:gd name="connsiteY25" fmla="*/ 1033623 h 2344739"/>
              <a:gd name="connsiteX26" fmla="*/ 11279184 w 12192001"/>
              <a:gd name="connsiteY26" fmla="*/ 1223571 h 2344739"/>
              <a:gd name="connsiteX27" fmla="*/ 11227161 w 12192001"/>
              <a:gd name="connsiteY27" fmla="*/ 1276236 h 2344739"/>
              <a:gd name="connsiteX28" fmla="*/ 11216939 w 12192001"/>
              <a:gd name="connsiteY28" fmla="*/ 1275961 h 2344739"/>
              <a:gd name="connsiteX29" fmla="*/ 11216036 w 12192001"/>
              <a:gd name="connsiteY29" fmla="*/ 1275018 h 2344739"/>
              <a:gd name="connsiteX30" fmla="*/ 11187737 w 12192001"/>
              <a:gd name="connsiteY30" fmla="*/ 1292383 h 2344739"/>
              <a:gd name="connsiteX31" fmla="*/ 11183353 w 12192001"/>
              <a:gd name="connsiteY31" fmla="*/ 1292525 h 2344739"/>
              <a:gd name="connsiteX32" fmla="*/ 11165706 w 12192001"/>
              <a:gd name="connsiteY32" fmla="*/ 1306612 h 2344739"/>
              <a:gd name="connsiteX33" fmla="*/ 11156163 w 12192001"/>
              <a:gd name="connsiteY33" fmla="*/ 1312414 h 2344739"/>
              <a:gd name="connsiteX34" fmla="*/ 11154348 w 12192001"/>
              <a:gd name="connsiteY34" fmla="*/ 1317097 h 2344739"/>
              <a:gd name="connsiteX35" fmla="*/ 11139813 w 12192001"/>
              <a:gd name="connsiteY35" fmla="*/ 1324115 h 2344739"/>
              <a:gd name="connsiteX36" fmla="*/ 11137813 w 12192001"/>
              <a:gd name="connsiteY36" fmla="*/ 1323772 h 2344739"/>
              <a:gd name="connsiteX37" fmla="*/ 11127060 w 12192001"/>
              <a:gd name="connsiteY37" fmla="*/ 1333832 h 2344739"/>
              <a:gd name="connsiteX38" fmla="*/ 11119543 w 12192001"/>
              <a:gd name="connsiteY38" fmla="*/ 1347424 h 2344739"/>
              <a:gd name="connsiteX39" fmla="*/ 10893535 w 12192001"/>
              <a:gd name="connsiteY39" fmla="*/ 1473399 h 2344739"/>
              <a:gd name="connsiteX40" fmla="*/ 10772152 w 12192001"/>
              <a:gd name="connsiteY40" fmla="*/ 1523191 h 2344739"/>
              <a:gd name="connsiteX41" fmla="*/ 10626520 w 12192001"/>
              <a:gd name="connsiteY41" fmla="*/ 1559229 h 2344739"/>
              <a:gd name="connsiteX42" fmla="*/ 10580747 w 12192001"/>
              <a:gd name="connsiteY42" fmla="*/ 1568689 h 2344739"/>
              <a:gd name="connsiteX43" fmla="*/ 10546642 w 12192001"/>
              <a:gd name="connsiteY43" fmla="*/ 1598423 h 2344739"/>
              <a:gd name="connsiteX44" fmla="*/ 10528495 w 12192001"/>
              <a:gd name="connsiteY44" fmla="*/ 1596907 h 2344739"/>
              <a:gd name="connsiteX45" fmla="*/ 10525298 w 12192001"/>
              <a:gd name="connsiteY45" fmla="*/ 1596411 h 2344739"/>
              <a:gd name="connsiteX46" fmla="*/ 10513981 w 12192001"/>
              <a:gd name="connsiteY46" fmla="*/ 1599537 h 2344739"/>
              <a:gd name="connsiteX47" fmla="*/ 10490587 w 12192001"/>
              <a:gd name="connsiteY47" fmla="*/ 1594156 h 2344739"/>
              <a:gd name="connsiteX48" fmla="*/ 10470270 w 12192001"/>
              <a:gd name="connsiteY48" fmla="*/ 1601693 h 2344739"/>
              <a:gd name="connsiteX49" fmla="*/ 10375894 w 12192001"/>
              <a:gd name="connsiteY49" fmla="*/ 1644598 h 2344739"/>
              <a:gd name="connsiteX50" fmla="*/ 10318190 w 12192001"/>
              <a:gd name="connsiteY50" fmla="*/ 1666221 h 2344739"/>
              <a:gd name="connsiteX51" fmla="*/ 10294319 w 12192001"/>
              <a:gd name="connsiteY51" fmla="*/ 1668079 h 2344739"/>
              <a:gd name="connsiteX52" fmla="*/ 10262295 w 12192001"/>
              <a:gd name="connsiteY52" fmla="*/ 1674948 h 2344739"/>
              <a:gd name="connsiteX53" fmla="*/ 10204270 w 12192001"/>
              <a:gd name="connsiteY53" fmla="*/ 1682149 h 2344739"/>
              <a:gd name="connsiteX54" fmla="*/ 10176611 w 12192001"/>
              <a:gd name="connsiteY54" fmla="*/ 1692943 h 2344739"/>
              <a:gd name="connsiteX55" fmla="*/ 10163922 w 12192001"/>
              <a:gd name="connsiteY55" fmla="*/ 1693739 h 2344739"/>
              <a:gd name="connsiteX56" fmla="*/ 10155160 w 12192001"/>
              <a:gd name="connsiteY56" fmla="*/ 1707487 h 2344739"/>
              <a:gd name="connsiteX57" fmla="*/ 10117119 w 12192001"/>
              <a:gd name="connsiteY57" fmla="*/ 1731142 h 2344739"/>
              <a:gd name="connsiteX58" fmla="*/ 10100445 w 12192001"/>
              <a:gd name="connsiteY58" fmla="*/ 1742432 h 2344739"/>
              <a:gd name="connsiteX59" fmla="*/ 10082169 w 12192001"/>
              <a:gd name="connsiteY59" fmla="*/ 1743296 h 2344739"/>
              <a:gd name="connsiteX60" fmla="*/ 10039240 w 12192001"/>
              <a:gd name="connsiteY60" fmla="*/ 1741632 h 2344739"/>
              <a:gd name="connsiteX61" fmla="*/ 9960019 w 12192001"/>
              <a:gd name="connsiteY61" fmla="*/ 1757147 h 2344739"/>
              <a:gd name="connsiteX62" fmla="*/ 9847792 w 12192001"/>
              <a:gd name="connsiteY62" fmla="*/ 1763915 h 2344739"/>
              <a:gd name="connsiteX63" fmla="*/ 9728309 w 12192001"/>
              <a:gd name="connsiteY63" fmla="*/ 1784122 h 2344739"/>
              <a:gd name="connsiteX64" fmla="*/ 9584507 w 12192001"/>
              <a:gd name="connsiteY64" fmla="*/ 1795542 h 2344739"/>
              <a:gd name="connsiteX65" fmla="*/ 9343052 w 12192001"/>
              <a:gd name="connsiteY65" fmla="*/ 1841244 h 2344739"/>
              <a:gd name="connsiteX66" fmla="*/ 9231370 w 12192001"/>
              <a:gd name="connsiteY66" fmla="*/ 1893149 h 2344739"/>
              <a:gd name="connsiteX67" fmla="*/ 9194810 w 12192001"/>
              <a:gd name="connsiteY67" fmla="*/ 1903228 h 2344739"/>
              <a:gd name="connsiteX68" fmla="*/ 9189246 w 12192001"/>
              <a:gd name="connsiteY68" fmla="*/ 1912467 h 2344739"/>
              <a:gd name="connsiteX69" fmla="*/ 9113812 w 12192001"/>
              <a:gd name="connsiteY69" fmla="*/ 1919069 h 2344739"/>
              <a:gd name="connsiteX70" fmla="*/ 9053453 w 12192001"/>
              <a:gd name="connsiteY70" fmla="*/ 1910755 h 2344739"/>
              <a:gd name="connsiteX71" fmla="*/ 9005486 w 12192001"/>
              <a:gd name="connsiteY71" fmla="*/ 1914040 h 2344739"/>
              <a:gd name="connsiteX72" fmla="*/ 9005201 w 12192001"/>
              <a:gd name="connsiteY72" fmla="*/ 1913800 h 2344739"/>
              <a:gd name="connsiteX73" fmla="*/ 8996232 w 12192001"/>
              <a:gd name="connsiteY73" fmla="*/ 1915011 h 2344739"/>
              <a:gd name="connsiteX74" fmla="*/ 8990394 w 12192001"/>
              <a:gd name="connsiteY74" fmla="*/ 1917072 h 2344739"/>
              <a:gd name="connsiteX75" fmla="*/ 8974337 w 12192001"/>
              <a:gd name="connsiteY75" fmla="*/ 1920298 h 2344739"/>
              <a:gd name="connsiteX76" fmla="*/ 8968011 w 12192001"/>
              <a:gd name="connsiteY76" fmla="*/ 1919598 h 2344739"/>
              <a:gd name="connsiteX77" fmla="*/ 8963048 w 12192001"/>
              <a:gd name="connsiteY77" fmla="*/ 1917373 h 2344739"/>
              <a:gd name="connsiteX78" fmla="*/ 8928988 w 12192001"/>
              <a:gd name="connsiteY78" fmla="*/ 1914185 h 2344739"/>
              <a:gd name="connsiteX79" fmla="*/ 8752444 w 12192001"/>
              <a:gd name="connsiteY79" fmla="*/ 1933417 h 2344739"/>
              <a:gd name="connsiteX80" fmla="*/ 8707847 w 12192001"/>
              <a:gd name="connsiteY80" fmla="*/ 1935518 h 2344739"/>
              <a:gd name="connsiteX81" fmla="*/ 8596071 w 12192001"/>
              <a:gd name="connsiteY81" fmla="*/ 1944090 h 2344739"/>
              <a:gd name="connsiteX82" fmla="*/ 8525230 w 12192001"/>
              <a:gd name="connsiteY82" fmla="*/ 1929248 h 2344739"/>
              <a:gd name="connsiteX83" fmla="*/ 8510983 w 12192001"/>
              <a:gd name="connsiteY83" fmla="*/ 1935163 h 2344739"/>
              <a:gd name="connsiteX84" fmla="*/ 8506167 w 12192001"/>
              <a:gd name="connsiteY84" fmla="*/ 1938164 h 2344739"/>
              <a:gd name="connsiteX85" fmla="*/ 8497968 w 12192001"/>
              <a:gd name="connsiteY85" fmla="*/ 1940902 h 2344739"/>
              <a:gd name="connsiteX86" fmla="*/ 8497594 w 12192001"/>
              <a:gd name="connsiteY86" fmla="*/ 1940723 h 2344739"/>
              <a:gd name="connsiteX87" fmla="*/ 8490249 w 12192001"/>
              <a:gd name="connsiteY87" fmla="*/ 1943773 h 2344739"/>
              <a:gd name="connsiteX88" fmla="*/ 8367182 w 12192001"/>
              <a:gd name="connsiteY88" fmla="*/ 1957815 h 2344739"/>
              <a:gd name="connsiteX89" fmla="*/ 8353799 w 12192001"/>
              <a:gd name="connsiteY89" fmla="*/ 1958009 h 2344739"/>
              <a:gd name="connsiteX90" fmla="*/ 8352373 w 12192001"/>
              <a:gd name="connsiteY90" fmla="*/ 1957169 h 2344739"/>
              <a:gd name="connsiteX91" fmla="*/ 8320104 w 12192001"/>
              <a:gd name="connsiteY91" fmla="*/ 1974587 h 2344739"/>
              <a:gd name="connsiteX92" fmla="*/ 8314433 w 12192001"/>
              <a:gd name="connsiteY92" fmla="*/ 1974913 h 2344739"/>
              <a:gd name="connsiteX93" fmla="*/ 8295174 w 12192001"/>
              <a:gd name="connsiteY93" fmla="*/ 1988808 h 2344739"/>
              <a:gd name="connsiteX94" fmla="*/ 8284276 w 12192001"/>
              <a:gd name="connsiteY94" fmla="*/ 1994631 h 2344739"/>
              <a:gd name="connsiteX95" fmla="*/ 8283150 w 12192001"/>
              <a:gd name="connsiteY95" fmla="*/ 1999074 h 2344739"/>
              <a:gd name="connsiteX96" fmla="*/ 8266076 w 12192001"/>
              <a:gd name="connsiteY96" fmla="*/ 2006249 h 2344739"/>
              <a:gd name="connsiteX97" fmla="*/ 8263377 w 12192001"/>
              <a:gd name="connsiteY97" fmla="*/ 2006019 h 2344739"/>
              <a:gd name="connsiteX98" fmla="*/ 8252033 w 12192001"/>
              <a:gd name="connsiteY98" fmla="*/ 2015862 h 2344739"/>
              <a:gd name="connsiteX99" fmla="*/ 8245834 w 12192001"/>
              <a:gd name="connsiteY99" fmla="*/ 2028854 h 2344739"/>
              <a:gd name="connsiteX100" fmla="*/ 8090272 w 12192001"/>
              <a:gd name="connsiteY100" fmla="*/ 2075015 h 2344739"/>
              <a:gd name="connsiteX101" fmla="*/ 7905407 w 12192001"/>
              <a:gd name="connsiteY101" fmla="*/ 2116988 h 2344739"/>
              <a:gd name="connsiteX102" fmla="*/ 7718745 w 12192001"/>
              <a:gd name="connsiteY102" fmla="*/ 2142703 h 2344739"/>
              <a:gd name="connsiteX103" fmla="*/ 7614347 w 12192001"/>
              <a:gd name="connsiteY103" fmla="*/ 2139232 h 2344739"/>
              <a:gd name="connsiteX104" fmla="*/ 7527543 w 12192001"/>
              <a:gd name="connsiteY104" fmla="*/ 2145060 h 2344739"/>
              <a:gd name="connsiteX105" fmla="*/ 7519571 w 12192001"/>
              <a:gd name="connsiteY105" fmla="*/ 2147613 h 2344739"/>
              <a:gd name="connsiteX106" fmla="*/ 7507411 w 12192001"/>
              <a:gd name="connsiteY106" fmla="*/ 2148948 h 2344739"/>
              <a:gd name="connsiteX107" fmla="*/ 7507040 w 12192001"/>
              <a:gd name="connsiteY107" fmla="*/ 2148621 h 2344739"/>
              <a:gd name="connsiteX108" fmla="*/ 7495795 w 12192001"/>
              <a:gd name="connsiteY108" fmla="*/ 2150573 h 2344739"/>
              <a:gd name="connsiteX109" fmla="*/ 7405391 w 12192001"/>
              <a:gd name="connsiteY109" fmla="*/ 2142468 h 2344739"/>
              <a:gd name="connsiteX110" fmla="*/ 7218559 w 12192001"/>
              <a:gd name="connsiteY110" fmla="*/ 2156680 h 2344739"/>
              <a:gd name="connsiteX111" fmla="*/ 7201101 w 12192001"/>
              <a:gd name="connsiteY111" fmla="*/ 2161230 h 2344739"/>
              <a:gd name="connsiteX112" fmla="*/ 7197004 w 12192001"/>
              <a:gd name="connsiteY112" fmla="*/ 2166588 h 2344739"/>
              <a:gd name="connsiteX113" fmla="*/ 7170808 w 12192001"/>
              <a:gd name="connsiteY113" fmla="*/ 2171236 h 2344739"/>
              <a:gd name="connsiteX114" fmla="*/ 7096988 w 12192001"/>
              <a:gd name="connsiteY114" fmla="*/ 2183464 h 2344739"/>
              <a:gd name="connsiteX115" fmla="*/ 7018496 w 12192001"/>
              <a:gd name="connsiteY115" fmla="*/ 2183090 h 2344739"/>
              <a:gd name="connsiteX116" fmla="*/ 6904146 w 12192001"/>
              <a:gd name="connsiteY116" fmla="*/ 2212596 h 2344739"/>
              <a:gd name="connsiteX117" fmla="*/ 6708222 w 12192001"/>
              <a:gd name="connsiteY117" fmla="*/ 2240551 h 2344739"/>
              <a:gd name="connsiteX118" fmla="*/ 6549454 w 12192001"/>
              <a:gd name="connsiteY118" fmla="*/ 2269327 h 2344739"/>
              <a:gd name="connsiteX119" fmla="*/ 6317560 w 12192001"/>
              <a:gd name="connsiteY119" fmla="*/ 2316127 h 2344739"/>
              <a:gd name="connsiteX120" fmla="*/ 6168674 w 12192001"/>
              <a:gd name="connsiteY120" fmla="*/ 2318214 h 2344739"/>
              <a:gd name="connsiteX121" fmla="*/ 6073848 w 12192001"/>
              <a:gd name="connsiteY121" fmla="*/ 2338676 h 2344739"/>
              <a:gd name="connsiteX122" fmla="*/ 6068529 w 12192001"/>
              <a:gd name="connsiteY122" fmla="*/ 2337139 h 2344739"/>
              <a:gd name="connsiteX123" fmla="*/ 6048638 w 12192001"/>
              <a:gd name="connsiteY123" fmla="*/ 2337822 h 2344739"/>
              <a:gd name="connsiteX124" fmla="*/ 6041285 w 12192001"/>
              <a:gd name="connsiteY124" fmla="*/ 2329473 h 2344739"/>
              <a:gd name="connsiteX125" fmla="*/ 6010090 w 12192001"/>
              <a:gd name="connsiteY125" fmla="*/ 2324380 h 2344739"/>
              <a:gd name="connsiteX126" fmla="*/ 5957375 w 12192001"/>
              <a:gd name="connsiteY126" fmla="*/ 2328024 h 2344739"/>
              <a:gd name="connsiteX127" fmla="*/ 5758919 w 12192001"/>
              <a:gd name="connsiteY127" fmla="*/ 2343716 h 2344739"/>
              <a:gd name="connsiteX128" fmla="*/ 5626960 w 12192001"/>
              <a:gd name="connsiteY128" fmla="*/ 2344739 h 2344739"/>
              <a:gd name="connsiteX129" fmla="*/ 5470906 w 12192001"/>
              <a:gd name="connsiteY129" fmla="*/ 2330719 h 2344739"/>
              <a:gd name="connsiteX130" fmla="*/ 5432761 w 12192001"/>
              <a:gd name="connsiteY130" fmla="*/ 2319466 h 2344739"/>
              <a:gd name="connsiteX131" fmla="*/ 5381669 w 12192001"/>
              <a:gd name="connsiteY131" fmla="*/ 2301764 h 2344739"/>
              <a:gd name="connsiteX132" fmla="*/ 5261764 w 12192001"/>
              <a:gd name="connsiteY132" fmla="*/ 2281347 h 2344739"/>
              <a:gd name="connsiteX133" fmla="*/ 5222961 w 12192001"/>
              <a:gd name="connsiteY133" fmla="*/ 2270223 h 2344739"/>
              <a:gd name="connsiteX134" fmla="*/ 5174660 w 12192001"/>
              <a:gd name="connsiteY134" fmla="*/ 2267233 h 2344739"/>
              <a:gd name="connsiteX135" fmla="*/ 5156554 w 12192001"/>
              <a:gd name="connsiteY135" fmla="*/ 2260010 h 2344739"/>
              <a:gd name="connsiteX136" fmla="*/ 5142599 w 12192001"/>
              <a:gd name="connsiteY136" fmla="*/ 2256610 h 2344739"/>
              <a:gd name="connsiteX137" fmla="*/ 5139596 w 12192001"/>
              <a:gd name="connsiteY137" fmla="*/ 2254509 h 2344739"/>
              <a:gd name="connsiteX138" fmla="*/ 5121659 w 12192001"/>
              <a:gd name="connsiteY138" fmla="*/ 2243656 h 2344739"/>
              <a:gd name="connsiteX139" fmla="*/ 5065790 w 12192001"/>
              <a:gd name="connsiteY139" fmla="*/ 2250227 h 2344739"/>
              <a:gd name="connsiteX140" fmla="*/ 5011514 w 12192001"/>
              <a:gd name="connsiteY140" fmla="*/ 2233846 h 2344739"/>
              <a:gd name="connsiteX141" fmla="*/ 4840441 w 12192001"/>
              <a:gd name="connsiteY141" fmla="*/ 2209829 h 2344739"/>
              <a:gd name="connsiteX142" fmla="*/ 4762447 w 12192001"/>
              <a:gd name="connsiteY142" fmla="*/ 2182061 h 2344739"/>
              <a:gd name="connsiteX143" fmla="*/ 4723186 w 12192001"/>
              <a:gd name="connsiteY143" fmla="*/ 2173047 h 2344739"/>
              <a:gd name="connsiteX144" fmla="*/ 4721176 w 12192001"/>
              <a:gd name="connsiteY144" fmla="*/ 2172298 h 2344739"/>
              <a:gd name="connsiteX145" fmla="*/ 4722111 w 12192001"/>
              <a:gd name="connsiteY145" fmla="*/ 2172087 h 2344739"/>
              <a:gd name="connsiteX146" fmla="*/ 4717202 w 12192001"/>
              <a:gd name="connsiteY146" fmla="*/ 2170817 h 2344739"/>
              <a:gd name="connsiteX147" fmla="*/ 4721176 w 12192001"/>
              <a:gd name="connsiteY147" fmla="*/ 2172298 h 2344739"/>
              <a:gd name="connsiteX148" fmla="*/ 4715526 w 12192001"/>
              <a:gd name="connsiteY148" fmla="*/ 2173573 h 2344739"/>
              <a:gd name="connsiteX149" fmla="*/ 4515814 w 12192001"/>
              <a:gd name="connsiteY149" fmla="*/ 2163671 h 2344739"/>
              <a:gd name="connsiteX150" fmla="*/ 4428543 w 12192001"/>
              <a:gd name="connsiteY150" fmla="*/ 2153020 h 2344739"/>
              <a:gd name="connsiteX151" fmla="*/ 4362875 w 12192001"/>
              <a:gd name="connsiteY151" fmla="*/ 2151674 h 2344739"/>
              <a:gd name="connsiteX152" fmla="*/ 4316966 w 12192001"/>
              <a:gd name="connsiteY152" fmla="*/ 2158289 h 2344739"/>
              <a:gd name="connsiteX153" fmla="*/ 4315110 w 12192001"/>
              <a:gd name="connsiteY153" fmla="*/ 2156948 h 2344739"/>
              <a:gd name="connsiteX154" fmla="*/ 4295144 w 12192001"/>
              <a:gd name="connsiteY154" fmla="*/ 2155069 h 2344739"/>
              <a:gd name="connsiteX155" fmla="*/ 4290064 w 12192001"/>
              <a:gd name="connsiteY155" fmla="*/ 2157986 h 2344739"/>
              <a:gd name="connsiteX156" fmla="*/ 4276142 w 12192001"/>
              <a:gd name="connsiteY156" fmla="*/ 2157740 h 2344739"/>
              <a:gd name="connsiteX157" fmla="*/ 4248117 w 12192001"/>
              <a:gd name="connsiteY157" fmla="*/ 2160064 h 2344739"/>
              <a:gd name="connsiteX158" fmla="*/ 4202051 w 12192001"/>
              <a:gd name="connsiteY158" fmla="*/ 2157269 h 2344739"/>
              <a:gd name="connsiteX159" fmla="*/ 4201745 w 12192001"/>
              <a:gd name="connsiteY159" fmla="*/ 2156010 h 2344739"/>
              <a:gd name="connsiteX160" fmla="*/ 4191248 w 12192001"/>
              <a:gd name="connsiteY160" fmla="*/ 2150376 h 2344739"/>
              <a:gd name="connsiteX161" fmla="*/ 4142745 w 12192001"/>
              <a:gd name="connsiteY161" fmla="*/ 2134511 h 2344739"/>
              <a:gd name="connsiteX162" fmla="*/ 4083097 w 12192001"/>
              <a:gd name="connsiteY162" fmla="*/ 2107978 h 2344739"/>
              <a:gd name="connsiteX163" fmla="*/ 4074546 w 12192001"/>
              <a:gd name="connsiteY163" fmla="*/ 2107143 h 2344739"/>
              <a:gd name="connsiteX164" fmla="*/ 4074427 w 12192001"/>
              <a:gd name="connsiteY164" fmla="*/ 2106844 h 2344739"/>
              <a:gd name="connsiteX165" fmla="*/ 4065510 w 12192001"/>
              <a:gd name="connsiteY165" fmla="*/ 2105400 h 2344739"/>
              <a:gd name="connsiteX166" fmla="*/ 4058954 w 12192001"/>
              <a:gd name="connsiteY166" fmla="*/ 2105618 h 2344739"/>
              <a:gd name="connsiteX167" fmla="*/ 4042364 w 12192001"/>
              <a:gd name="connsiteY167" fmla="*/ 2103997 h 2344739"/>
              <a:gd name="connsiteX168" fmla="*/ 4036997 w 12192001"/>
              <a:gd name="connsiteY168" fmla="*/ 2101563 h 2344739"/>
              <a:gd name="connsiteX169" fmla="*/ 4035363 w 12192001"/>
              <a:gd name="connsiteY169" fmla="*/ 2097896 h 2344739"/>
              <a:gd name="connsiteX170" fmla="*/ 4033778 w 12192001"/>
              <a:gd name="connsiteY170" fmla="*/ 2098131 h 2344739"/>
              <a:gd name="connsiteX171" fmla="*/ 4004538 w 12192001"/>
              <a:gd name="connsiteY171" fmla="*/ 2085563 h 2344739"/>
              <a:gd name="connsiteX172" fmla="*/ 3936846 w 12192001"/>
              <a:gd name="connsiteY172" fmla="*/ 2068106 h 2344739"/>
              <a:gd name="connsiteX173" fmla="*/ 3897275 w 12192001"/>
              <a:gd name="connsiteY173" fmla="*/ 2062451 h 2344739"/>
              <a:gd name="connsiteX174" fmla="*/ 3789760 w 12192001"/>
              <a:gd name="connsiteY174" fmla="*/ 2042213 h 2344739"/>
              <a:gd name="connsiteX175" fmla="*/ 3682513 w 12192001"/>
              <a:gd name="connsiteY175" fmla="*/ 2018290 h 2344739"/>
              <a:gd name="connsiteX176" fmla="*/ 3610035 w 12192001"/>
              <a:gd name="connsiteY176" fmla="*/ 1986019 h 2344739"/>
              <a:gd name="connsiteX177" fmla="*/ 3603855 w 12192001"/>
              <a:gd name="connsiteY177" fmla="*/ 1987381 h 2344739"/>
              <a:gd name="connsiteX178" fmla="*/ 3594736 w 12192001"/>
              <a:gd name="connsiteY178" fmla="*/ 1987545 h 2344739"/>
              <a:gd name="connsiteX179" fmla="*/ 3594501 w 12192001"/>
              <a:gd name="connsiteY179" fmla="*/ 1987276 h 2344739"/>
              <a:gd name="connsiteX180" fmla="*/ 3585978 w 12192001"/>
              <a:gd name="connsiteY180" fmla="*/ 1987966 h 2344739"/>
              <a:gd name="connsiteX181" fmla="*/ 3536135 w 12192001"/>
              <a:gd name="connsiteY181" fmla="*/ 1978267 h 2344739"/>
              <a:gd name="connsiteX182" fmla="*/ 3473223 w 12192001"/>
              <a:gd name="connsiteY182" fmla="*/ 1974606 h 2344739"/>
              <a:gd name="connsiteX183" fmla="*/ 3400728 w 12192001"/>
              <a:gd name="connsiteY183" fmla="*/ 1962558 h 2344739"/>
              <a:gd name="connsiteX184" fmla="*/ 3363888 w 12192001"/>
              <a:gd name="connsiteY184" fmla="*/ 1979510 h 2344739"/>
              <a:gd name="connsiteX185" fmla="*/ 3344026 w 12192001"/>
              <a:gd name="connsiteY185" fmla="*/ 1981192 h 2344739"/>
              <a:gd name="connsiteX186" fmla="*/ 3341698 w 12192001"/>
              <a:gd name="connsiteY186" fmla="*/ 1980217 h 2344739"/>
              <a:gd name="connsiteX187" fmla="*/ 3262356 w 12192001"/>
              <a:gd name="connsiteY187" fmla="*/ 1986094 h 2344739"/>
              <a:gd name="connsiteX188" fmla="*/ 3142556 w 12192001"/>
              <a:gd name="connsiteY188" fmla="*/ 1993869 h 2344739"/>
              <a:gd name="connsiteX189" fmla="*/ 3030291 w 12192001"/>
              <a:gd name="connsiteY189" fmla="*/ 1996512 h 2344739"/>
              <a:gd name="connsiteX190" fmla="*/ 2781569 w 12192001"/>
              <a:gd name="connsiteY190" fmla="*/ 2018333 h 2344739"/>
              <a:gd name="connsiteX191" fmla="*/ 2646527 w 12192001"/>
              <a:gd name="connsiteY191" fmla="*/ 2028869 h 2344739"/>
              <a:gd name="connsiteX192" fmla="*/ 2568028 w 12192001"/>
              <a:gd name="connsiteY192" fmla="*/ 2002628 h 2344739"/>
              <a:gd name="connsiteX193" fmla="*/ 2443255 w 12192001"/>
              <a:gd name="connsiteY193" fmla="*/ 2016529 h 2344739"/>
              <a:gd name="connsiteX194" fmla="*/ 2315112 w 12192001"/>
              <a:gd name="connsiteY194" fmla="*/ 2024996 h 2344739"/>
              <a:gd name="connsiteX195" fmla="*/ 2208578 w 12192001"/>
              <a:gd name="connsiteY195" fmla="*/ 2019763 h 2344739"/>
              <a:gd name="connsiteX196" fmla="*/ 2094665 w 12192001"/>
              <a:gd name="connsiteY196" fmla="*/ 2003052 h 2344739"/>
              <a:gd name="connsiteX197" fmla="*/ 1997356 w 12192001"/>
              <a:gd name="connsiteY197" fmla="*/ 1995032 h 2344739"/>
              <a:gd name="connsiteX198" fmla="*/ 1928172 w 12192001"/>
              <a:gd name="connsiteY198" fmla="*/ 2016977 h 2344739"/>
              <a:gd name="connsiteX199" fmla="*/ 1921650 w 12192001"/>
              <a:gd name="connsiteY199" fmla="*/ 2012146 h 2344739"/>
              <a:gd name="connsiteX200" fmla="*/ 1873080 w 12192001"/>
              <a:gd name="connsiteY200" fmla="*/ 2013741 h 2344739"/>
              <a:gd name="connsiteX201" fmla="*/ 1786655 w 12192001"/>
              <a:gd name="connsiteY201" fmla="*/ 2041363 h 2344739"/>
              <a:gd name="connsiteX202" fmla="*/ 1738204 w 12192001"/>
              <a:gd name="connsiteY202" fmla="*/ 2036312 h 2344739"/>
              <a:gd name="connsiteX203" fmla="*/ 1675071 w 12192001"/>
              <a:gd name="connsiteY203" fmla="*/ 2019963 h 2344739"/>
              <a:gd name="connsiteX204" fmla="*/ 1608669 w 12192001"/>
              <a:gd name="connsiteY204" fmla="*/ 2013066 h 2344739"/>
              <a:gd name="connsiteX205" fmla="*/ 1496110 w 12192001"/>
              <a:gd name="connsiteY205" fmla="*/ 1987476 h 2344739"/>
              <a:gd name="connsiteX206" fmla="*/ 1149979 w 12192001"/>
              <a:gd name="connsiteY206" fmla="*/ 1938041 h 2344739"/>
              <a:gd name="connsiteX207" fmla="*/ 858269 w 12192001"/>
              <a:gd name="connsiteY207" fmla="*/ 1928608 h 2344739"/>
              <a:gd name="connsiteX208" fmla="*/ 837540 w 12192001"/>
              <a:gd name="connsiteY208" fmla="*/ 1929821 h 2344739"/>
              <a:gd name="connsiteX209" fmla="*/ 816809 w 12192001"/>
              <a:gd name="connsiteY209" fmla="*/ 1927857 h 2344739"/>
              <a:gd name="connsiteX210" fmla="*/ 811506 w 12192001"/>
              <a:gd name="connsiteY210" fmla="*/ 1930751 h 2344739"/>
              <a:gd name="connsiteX211" fmla="*/ 720047 w 12192001"/>
              <a:gd name="connsiteY211" fmla="*/ 1929661 h 2344739"/>
              <a:gd name="connsiteX212" fmla="*/ 719742 w 12192001"/>
              <a:gd name="connsiteY212" fmla="*/ 1928399 h 2344739"/>
              <a:gd name="connsiteX213" fmla="*/ 708875 w 12192001"/>
              <a:gd name="connsiteY213" fmla="*/ 1922722 h 2344739"/>
              <a:gd name="connsiteX214" fmla="*/ 596792 w 12192001"/>
              <a:gd name="connsiteY214" fmla="*/ 1879864 h 2344739"/>
              <a:gd name="connsiteX215" fmla="*/ 578535 w 12192001"/>
              <a:gd name="connsiteY215" fmla="*/ 1877212 h 2344739"/>
              <a:gd name="connsiteX216" fmla="*/ 571717 w 12192001"/>
              <a:gd name="connsiteY216" fmla="*/ 1877401 h 2344739"/>
              <a:gd name="connsiteX217" fmla="*/ 445099 w 12192001"/>
              <a:gd name="connsiteY217" fmla="*/ 1839371 h 2344739"/>
              <a:gd name="connsiteX218" fmla="*/ 404015 w 12192001"/>
              <a:gd name="connsiteY218" fmla="*/ 1833548 h 2344739"/>
              <a:gd name="connsiteX219" fmla="*/ 292435 w 12192001"/>
              <a:gd name="connsiteY219" fmla="*/ 1812852 h 2344739"/>
              <a:gd name="connsiteX220" fmla="*/ 118381 w 12192001"/>
              <a:gd name="connsiteY220" fmla="*/ 1761047 h 2344739"/>
              <a:gd name="connsiteX221" fmla="*/ 15526 w 12192001"/>
              <a:gd name="connsiteY221" fmla="*/ 1758191 h 2344739"/>
              <a:gd name="connsiteX222" fmla="*/ 2 w 12192001"/>
              <a:gd name="connsiteY222" fmla="*/ 1752722 h 2344739"/>
              <a:gd name="connsiteX223" fmla="*/ 1 w 12192001"/>
              <a:gd name="connsiteY223" fmla="*/ 762497 h 2344739"/>
              <a:gd name="connsiteX224" fmla="*/ 0 w 12192001"/>
              <a:gd name="connsiteY224" fmla="*/ 222213 h 2344739"/>
              <a:gd name="connsiteX225" fmla="*/ 0 w 12192001"/>
              <a:gd name="connsiteY225"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749767 w 12193149"/>
              <a:gd name="connsiteY23" fmla="*/ 872002 h 2344739"/>
              <a:gd name="connsiteX24" fmla="*/ 11590693 w 12193149"/>
              <a:gd name="connsiteY24" fmla="*/ 963777 h 2344739"/>
              <a:gd name="connsiteX25" fmla="*/ 11506817 w 12193149"/>
              <a:gd name="connsiteY25" fmla="*/ 1033623 h 2344739"/>
              <a:gd name="connsiteX26" fmla="*/ 11280332 w 12193149"/>
              <a:gd name="connsiteY26" fmla="*/ 1223571 h 2344739"/>
              <a:gd name="connsiteX27" fmla="*/ 11228309 w 12193149"/>
              <a:gd name="connsiteY27" fmla="*/ 1276236 h 2344739"/>
              <a:gd name="connsiteX28" fmla="*/ 11218087 w 12193149"/>
              <a:gd name="connsiteY28" fmla="*/ 1275961 h 2344739"/>
              <a:gd name="connsiteX29" fmla="*/ 11217184 w 12193149"/>
              <a:gd name="connsiteY29" fmla="*/ 1275018 h 2344739"/>
              <a:gd name="connsiteX30" fmla="*/ 11188885 w 12193149"/>
              <a:gd name="connsiteY30" fmla="*/ 1292383 h 2344739"/>
              <a:gd name="connsiteX31" fmla="*/ 11184501 w 12193149"/>
              <a:gd name="connsiteY31" fmla="*/ 1292525 h 2344739"/>
              <a:gd name="connsiteX32" fmla="*/ 11166854 w 12193149"/>
              <a:gd name="connsiteY32" fmla="*/ 1306612 h 2344739"/>
              <a:gd name="connsiteX33" fmla="*/ 11157311 w 12193149"/>
              <a:gd name="connsiteY33" fmla="*/ 1312414 h 2344739"/>
              <a:gd name="connsiteX34" fmla="*/ 11155496 w 12193149"/>
              <a:gd name="connsiteY34" fmla="*/ 1317097 h 2344739"/>
              <a:gd name="connsiteX35" fmla="*/ 11140961 w 12193149"/>
              <a:gd name="connsiteY35" fmla="*/ 1324115 h 2344739"/>
              <a:gd name="connsiteX36" fmla="*/ 11138961 w 12193149"/>
              <a:gd name="connsiteY36" fmla="*/ 1323772 h 2344739"/>
              <a:gd name="connsiteX37" fmla="*/ 11128208 w 12193149"/>
              <a:gd name="connsiteY37" fmla="*/ 1333832 h 2344739"/>
              <a:gd name="connsiteX38" fmla="*/ 11120691 w 12193149"/>
              <a:gd name="connsiteY38" fmla="*/ 1347424 h 2344739"/>
              <a:gd name="connsiteX39" fmla="*/ 10894683 w 12193149"/>
              <a:gd name="connsiteY39" fmla="*/ 1473399 h 2344739"/>
              <a:gd name="connsiteX40" fmla="*/ 10773300 w 12193149"/>
              <a:gd name="connsiteY40" fmla="*/ 1523191 h 2344739"/>
              <a:gd name="connsiteX41" fmla="*/ 10627668 w 12193149"/>
              <a:gd name="connsiteY41" fmla="*/ 1559229 h 2344739"/>
              <a:gd name="connsiteX42" fmla="*/ 10581895 w 12193149"/>
              <a:gd name="connsiteY42" fmla="*/ 1568689 h 2344739"/>
              <a:gd name="connsiteX43" fmla="*/ 10547790 w 12193149"/>
              <a:gd name="connsiteY43" fmla="*/ 1598423 h 2344739"/>
              <a:gd name="connsiteX44" fmla="*/ 10529643 w 12193149"/>
              <a:gd name="connsiteY44" fmla="*/ 1596907 h 2344739"/>
              <a:gd name="connsiteX45" fmla="*/ 10526446 w 12193149"/>
              <a:gd name="connsiteY45" fmla="*/ 1596411 h 2344739"/>
              <a:gd name="connsiteX46" fmla="*/ 10515129 w 12193149"/>
              <a:gd name="connsiteY46" fmla="*/ 1599537 h 2344739"/>
              <a:gd name="connsiteX47" fmla="*/ 10491735 w 12193149"/>
              <a:gd name="connsiteY47" fmla="*/ 1594156 h 2344739"/>
              <a:gd name="connsiteX48" fmla="*/ 10471418 w 12193149"/>
              <a:gd name="connsiteY48" fmla="*/ 1601693 h 2344739"/>
              <a:gd name="connsiteX49" fmla="*/ 10377042 w 12193149"/>
              <a:gd name="connsiteY49" fmla="*/ 1644598 h 2344739"/>
              <a:gd name="connsiteX50" fmla="*/ 10319338 w 12193149"/>
              <a:gd name="connsiteY50" fmla="*/ 1666221 h 2344739"/>
              <a:gd name="connsiteX51" fmla="*/ 10295467 w 12193149"/>
              <a:gd name="connsiteY51" fmla="*/ 1668079 h 2344739"/>
              <a:gd name="connsiteX52" fmla="*/ 10263443 w 12193149"/>
              <a:gd name="connsiteY52" fmla="*/ 1674948 h 2344739"/>
              <a:gd name="connsiteX53" fmla="*/ 10205418 w 12193149"/>
              <a:gd name="connsiteY53" fmla="*/ 1682149 h 2344739"/>
              <a:gd name="connsiteX54" fmla="*/ 10177759 w 12193149"/>
              <a:gd name="connsiteY54" fmla="*/ 1692943 h 2344739"/>
              <a:gd name="connsiteX55" fmla="*/ 10165070 w 12193149"/>
              <a:gd name="connsiteY55" fmla="*/ 1693739 h 2344739"/>
              <a:gd name="connsiteX56" fmla="*/ 10156308 w 12193149"/>
              <a:gd name="connsiteY56" fmla="*/ 1707487 h 2344739"/>
              <a:gd name="connsiteX57" fmla="*/ 10118267 w 12193149"/>
              <a:gd name="connsiteY57" fmla="*/ 1731142 h 2344739"/>
              <a:gd name="connsiteX58" fmla="*/ 10101593 w 12193149"/>
              <a:gd name="connsiteY58" fmla="*/ 1742432 h 2344739"/>
              <a:gd name="connsiteX59" fmla="*/ 10083317 w 12193149"/>
              <a:gd name="connsiteY59" fmla="*/ 1743296 h 2344739"/>
              <a:gd name="connsiteX60" fmla="*/ 10040388 w 12193149"/>
              <a:gd name="connsiteY60" fmla="*/ 1741632 h 2344739"/>
              <a:gd name="connsiteX61" fmla="*/ 9961167 w 12193149"/>
              <a:gd name="connsiteY61" fmla="*/ 1757147 h 2344739"/>
              <a:gd name="connsiteX62" fmla="*/ 9848940 w 12193149"/>
              <a:gd name="connsiteY62" fmla="*/ 1763915 h 2344739"/>
              <a:gd name="connsiteX63" fmla="*/ 9729457 w 12193149"/>
              <a:gd name="connsiteY63" fmla="*/ 1784122 h 2344739"/>
              <a:gd name="connsiteX64" fmla="*/ 9585655 w 12193149"/>
              <a:gd name="connsiteY64" fmla="*/ 1795542 h 2344739"/>
              <a:gd name="connsiteX65" fmla="*/ 9344200 w 12193149"/>
              <a:gd name="connsiteY65" fmla="*/ 1841244 h 2344739"/>
              <a:gd name="connsiteX66" fmla="*/ 9232518 w 12193149"/>
              <a:gd name="connsiteY66" fmla="*/ 1893149 h 2344739"/>
              <a:gd name="connsiteX67" fmla="*/ 9195958 w 12193149"/>
              <a:gd name="connsiteY67" fmla="*/ 1903228 h 2344739"/>
              <a:gd name="connsiteX68" fmla="*/ 9190394 w 12193149"/>
              <a:gd name="connsiteY68" fmla="*/ 1912467 h 2344739"/>
              <a:gd name="connsiteX69" fmla="*/ 9114960 w 12193149"/>
              <a:gd name="connsiteY69" fmla="*/ 1919069 h 2344739"/>
              <a:gd name="connsiteX70" fmla="*/ 9054601 w 12193149"/>
              <a:gd name="connsiteY70" fmla="*/ 1910755 h 2344739"/>
              <a:gd name="connsiteX71" fmla="*/ 9006634 w 12193149"/>
              <a:gd name="connsiteY71" fmla="*/ 1914040 h 2344739"/>
              <a:gd name="connsiteX72" fmla="*/ 9006349 w 12193149"/>
              <a:gd name="connsiteY72" fmla="*/ 1913800 h 2344739"/>
              <a:gd name="connsiteX73" fmla="*/ 8997380 w 12193149"/>
              <a:gd name="connsiteY73" fmla="*/ 1915011 h 2344739"/>
              <a:gd name="connsiteX74" fmla="*/ 8991542 w 12193149"/>
              <a:gd name="connsiteY74" fmla="*/ 1917072 h 2344739"/>
              <a:gd name="connsiteX75" fmla="*/ 8975485 w 12193149"/>
              <a:gd name="connsiteY75" fmla="*/ 1920298 h 2344739"/>
              <a:gd name="connsiteX76" fmla="*/ 8969159 w 12193149"/>
              <a:gd name="connsiteY76" fmla="*/ 1919598 h 2344739"/>
              <a:gd name="connsiteX77" fmla="*/ 8964196 w 12193149"/>
              <a:gd name="connsiteY77" fmla="*/ 1917373 h 2344739"/>
              <a:gd name="connsiteX78" fmla="*/ 8930136 w 12193149"/>
              <a:gd name="connsiteY78" fmla="*/ 1914185 h 2344739"/>
              <a:gd name="connsiteX79" fmla="*/ 8753592 w 12193149"/>
              <a:gd name="connsiteY79" fmla="*/ 1933417 h 2344739"/>
              <a:gd name="connsiteX80" fmla="*/ 8708995 w 12193149"/>
              <a:gd name="connsiteY80" fmla="*/ 1935518 h 2344739"/>
              <a:gd name="connsiteX81" fmla="*/ 8597219 w 12193149"/>
              <a:gd name="connsiteY81" fmla="*/ 1944090 h 2344739"/>
              <a:gd name="connsiteX82" fmla="*/ 8526378 w 12193149"/>
              <a:gd name="connsiteY82" fmla="*/ 1929248 h 2344739"/>
              <a:gd name="connsiteX83" fmla="*/ 8512131 w 12193149"/>
              <a:gd name="connsiteY83" fmla="*/ 1935163 h 2344739"/>
              <a:gd name="connsiteX84" fmla="*/ 8507315 w 12193149"/>
              <a:gd name="connsiteY84" fmla="*/ 1938164 h 2344739"/>
              <a:gd name="connsiteX85" fmla="*/ 8499116 w 12193149"/>
              <a:gd name="connsiteY85" fmla="*/ 1940902 h 2344739"/>
              <a:gd name="connsiteX86" fmla="*/ 8498742 w 12193149"/>
              <a:gd name="connsiteY86" fmla="*/ 1940723 h 2344739"/>
              <a:gd name="connsiteX87" fmla="*/ 8491397 w 12193149"/>
              <a:gd name="connsiteY87" fmla="*/ 1943773 h 2344739"/>
              <a:gd name="connsiteX88" fmla="*/ 8368330 w 12193149"/>
              <a:gd name="connsiteY88" fmla="*/ 1957815 h 2344739"/>
              <a:gd name="connsiteX89" fmla="*/ 8354947 w 12193149"/>
              <a:gd name="connsiteY89" fmla="*/ 1958009 h 2344739"/>
              <a:gd name="connsiteX90" fmla="*/ 8353521 w 12193149"/>
              <a:gd name="connsiteY90" fmla="*/ 1957169 h 2344739"/>
              <a:gd name="connsiteX91" fmla="*/ 8321252 w 12193149"/>
              <a:gd name="connsiteY91" fmla="*/ 1974587 h 2344739"/>
              <a:gd name="connsiteX92" fmla="*/ 8315581 w 12193149"/>
              <a:gd name="connsiteY92" fmla="*/ 1974913 h 2344739"/>
              <a:gd name="connsiteX93" fmla="*/ 8296322 w 12193149"/>
              <a:gd name="connsiteY93" fmla="*/ 1988808 h 2344739"/>
              <a:gd name="connsiteX94" fmla="*/ 8285424 w 12193149"/>
              <a:gd name="connsiteY94" fmla="*/ 1994631 h 2344739"/>
              <a:gd name="connsiteX95" fmla="*/ 8284298 w 12193149"/>
              <a:gd name="connsiteY95" fmla="*/ 1999074 h 2344739"/>
              <a:gd name="connsiteX96" fmla="*/ 8267224 w 12193149"/>
              <a:gd name="connsiteY96" fmla="*/ 2006249 h 2344739"/>
              <a:gd name="connsiteX97" fmla="*/ 8264525 w 12193149"/>
              <a:gd name="connsiteY97" fmla="*/ 2006019 h 2344739"/>
              <a:gd name="connsiteX98" fmla="*/ 8253181 w 12193149"/>
              <a:gd name="connsiteY98" fmla="*/ 2015862 h 2344739"/>
              <a:gd name="connsiteX99" fmla="*/ 8246982 w 12193149"/>
              <a:gd name="connsiteY99" fmla="*/ 2028854 h 2344739"/>
              <a:gd name="connsiteX100" fmla="*/ 8091420 w 12193149"/>
              <a:gd name="connsiteY100" fmla="*/ 2075015 h 2344739"/>
              <a:gd name="connsiteX101" fmla="*/ 7906555 w 12193149"/>
              <a:gd name="connsiteY101" fmla="*/ 2116988 h 2344739"/>
              <a:gd name="connsiteX102" fmla="*/ 7719893 w 12193149"/>
              <a:gd name="connsiteY102" fmla="*/ 2142703 h 2344739"/>
              <a:gd name="connsiteX103" fmla="*/ 7615495 w 12193149"/>
              <a:gd name="connsiteY103" fmla="*/ 2139232 h 2344739"/>
              <a:gd name="connsiteX104" fmla="*/ 7528691 w 12193149"/>
              <a:gd name="connsiteY104" fmla="*/ 2145060 h 2344739"/>
              <a:gd name="connsiteX105" fmla="*/ 7520719 w 12193149"/>
              <a:gd name="connsiteY105" fmla="*/ 2147613 h 2344739"/>
              <a:gd name="connsiteX106" fmla="*/ 7508559 w 12193149"/>
              <a:gd name="connsiteY106" fmla="*/ 2148948 h 2344739"/>
              <a:gd name="connsiteX107" fmla="*/ 7508188 w 12193149"/>
              <a:gd name="connsiteY107" fmla="*/ 2148621 h 2344739"/>
              <a:gd name="connsiteX108" fmla="*/ 7496943 w 12193149"/>
              <a:gd name="connsiteY108" fmla="*/ 2150573 h 2344739"/>
              <a:gd name="connsiteX109" fmla="*/ 7406539 w 12193149"/>
              <a:gd name="connsiteY109" fmla="*/ 2142468 h 2344739"/>
              <a:gd name="connsiteX110" fmla="*/ 7219707 w 12193149"/>
              <a:gd name="connsiteY110" fmla="*/ 2156680 h 2344739"/>
              <a:gd name="connsiteX111" fmla="*/ 7202249 w 12193149"/>
              <a:gd name="connsiteY111" fmla="*/ 2161230 h 2344739"/>
              <a:gd name="connsiteX112" fmla="*/ 7198152 w 12193149"/>
              <a:gd name="connsiteY112" fmla="*/ 2166588 h 2344739"/>
              <a:gd name="connsiteX113" fmla="*/ 7171956 w 12193149"/>
              <a:gd name="connsiteY113" fmla="*/ 2171236 h 2344739"/>
              <a:gd name="connsiteX114" fmla="*/ 7098136 w 12193149"/>
              <a:gd name="connsiteY114" fmla="*/ 2183464 h 2344739"/>
              <a:gd name="connsiteX115" fmla="*/ 7019644 w 12193149"/>
              <a:gd name="connsiteY115" fmla="*/ 2183090 h 2344739"/>
              <a:gd name="connsiteX116" fmla="*/ 6905294 w 12193149"/>
              <a:gd name="connsiteY116" fmla="*/ 2212596 h 2344739"/>
              <a:gd name="connsiteX117" fmla="*/ 6709370 w 12193149"/>
              <a:gd name="connsiteY117" fmla="*/ 2240551 h 2344739"/>
              <a:gd name="connsiteX118" fmla="*/ 6550602 w 12193149"/>
              <a:gd name="connsiteY118" fmla="*/ 2269327 h 2344739"/>
              <a:gd name="connsiteX119" fmla="*/ 6318708 w 12193149"/>
              <a:gd name="connsiteY119" fmla="*/ 2316127 h 2344739"/>
              <a:gd name="connsiteX120" fmla="*/ 6169822 w 12193149"/>
              <a:gd name="connsiteY120" fmla="*/ 2318214 h 2344739"/>
              <a:gd name="connsiteX121" fmla="*/ 6074996 w 12193149"/>
              <a:gd name="connsiteY121" fmla="*/ 2338676 h 2344739"/>
              <a:gd name="connsiteX122" fmla="*/ 6069677 w 12193149"/>
              <a:gd name="connsiteY122" fmla="*/ 2337139 h 2344739"/>
              <a:gd name="connsiteX123" fmla="*/ 6049786 w 12193149"/>
              <a:gd name="connsiteY123" fmla="*/ 2337822 h 2344739"/>
              <a:gd name="connsiteX124" fmla="*/ 6042433 w 12193149"/>
              <a:gd name="connsiteY124" fmla="*/ 2329473 h 2344739"/>
              <a:gd name="connsiteX125" fmla="*/ 6011238 w 12193149"/>
              <a:gd name="connsiteY125" fmla="*/ 2324380 h 2344739"/>
              <a:gd name="connsiteX126" fmla="*/ 5958523 w 12193149"/>
              <a:gd name="connsiteY126" fmla="*/ 2328024 h 2344739"/>
              <a:gd name="connsiteX127" fmla="*/ 5760067 w 12193149"/>
              <a:gd name="connsiteY127" fmla="*/ 2343716 h 2344739"/>
              <a:gd name="connsiteX128" fmla="*/ 5628108 w 12193149"/>
              <a:gd name="connsiteY128" fmla="*/ 2344739 h 2344739"/>
              <a:gd name="connsiteX129" fmla="*/ 5472054 w 12193149"/>
              <a:gd name="connsiteY129" fmla="*/ 2330719 h 2344739"/>
              <a:gd name="connsiteX130" fmla="*/ 5433909 w 12193149"/>
              <a:gd name="connsiteY130" fmla="*/ 2319466 h 2344739"/>
              <a:gd name="connsiteX131" fmla="*/ 5382817 w 12193149"/>
              <a:gd name="connsiteY131" fmla="*/ 2301764 h 2344739"/>
              <a:gd name="connsiteX132" fmla="*/ 5262912 w 12193149"/>
              <a:gd name="connsiteY132" fmla="*/ 2281347 h 2344739"/>
              <a:gd name="connsiteX133" fmla="*/ 5224109 w 12193149"/>
              <a:gd name="connsiteY133" fmla="*/ 2270223 h 2344739"/>
              <a:gd name="connsiteX134" fmla="*/ 5175808 w 12193149"/>
              <a:gd name="connsiteY134" fmla="*/ 2267233 h 2344739"/>
              <a:gd name="connsiteX135" fmla="*/ 5157702 w 12193149"/>
              <a:gd name="connsiteY135" fmla="*/ 2260010 h 2344739"/>
              <a:gd name="connsiteX136" fmla="*/ 5143747 w 12193149"/>
              <a:gd name="connsiteY136" fmla="*/ 2256610 h 2344739"/>
              <a:gd name="connsiteX137" fmla="*/ 5140744 w 12193149"/>
              <a:gd name="connsiteY137" fmla="*/ 2254509 h 2344739"/>
              <a:gd name="connsiteX138" fmla="*/ 5122807 w 12193149"/>
              <a:gd name="connsiteY138" fmla="*/ 2243656 h 2344739"/>
              <a:gd name="connsiteX139" fmla="*/ 5066938 w 12193149"/>
              <a:gd name="connsiteY139" fmla="*/ 2250227 h 2344739"/>
              <a:gd name="connsiteX140" fmla="*/ 5012662 w 12193149"/>
              <a:gd name="connsiteY140" fmla="*/ 2233846 h 2344739"/>
              <a:gd name="connsiteX141" fmla="*/ 4841589 w 12193149"/>
              <a:gd name="connsiteY141" fmla="*/ 2209829 h 2344739"/>
              <a:gd name="connsiteX142" fmla="*/ 4763595 w 12193149"/>
              <a:gd name="connsiteY142" fmla="*/ 2182061 h 2344739"/>
              <a:gd name="connsiteX143" fmla="*/ 4724334 w 12193149"/>
              <a:gd name="connsiteY143" fmla="*/ 2173047 h 2344739"/>
              <a:gd name="connsiteX144" fmla="*/ 4722324 w 12193149"/>
              <a:gd name="connsiteY144" fmla="*/ 2172298 h 2344739"/>
              <a:gd name="connsiteX145" fmla="*/ 4723259 w 12193149"/>
              <a:gd name="connsiteY145" fmla="*/ 2172087 h 2344739"/>
              <a:gd name="connsiteX146" fmla="*/ 4718350 w 12193149"/>
              <a:gd name="connsiteY146" fmla="*/ 2170817 h 2344739"/>
              <a:gd name="connsiteX147" fmla="*/ 4722324 w 12193149"/>
              <a:gd name="connsiteY147" fmla="*/ 2172298 h 2344739"/>
              <a:gd name="connsiteX148" fmla="*/ 4716674 w 12193149"/>
              <a:gd name="connsiteY148" fmla="*/ 2173573 h 2344739"/>
              <a:gd name="connsiteX149" fmla="*/ 4516962 w 12193149"/>
              <a:gd name="connsiteY149" fmla="*/ 2163671 h 2344739"/>
              <a:gd name="connsiteX150" fmla="*/ 4429691 w 12193149"/>
              <a:gd name="connsiteY150" fmla="*/ 2153020 h 2344739"/>
              <a:gd name="connsiteX151" fmla="*/ 4364023 w 12193149"/>
              <a:gd name="connsiteY151" fmla="*/ 2151674 h 2344739"/>
              <a:gd name="connsiteX152" fmla="*/ 4318114 w 12193149"/>
              <a:gd name="connsiteY152" fmla="*/ 2158289 h 2344739"/>
              <a:gd name="connsiteX153" fmla="*/ 4316258 w 12193149"/>
              <a:gd name="connsiteY153" fmla="*/ 2156948 h 2344739"/>
              <a:gd name="connsiteX154" fmla="*/ 4296292 w 12193149"/>
              <a:gd name="connsiteY154" fmla="*/ 2155069 h 2344739"/>
              <a:gd name="connsiteX155" fmla="*/ 4291212 w 12193149"/>
              <a:gd name="connsiteY155" fmla="*/ 2157986 h 2344739"/>
              <a:gd name="connsiteX156" fmla="*/ 4277290 w 12193149"/>
              <a:gd name="connsiteY156" fmla="*/ 2157740 h 2344739"/>
              <a:gd name="connsiteX157" fmla="*/ 4249265 w 12193149"/>
              <a:gd name="connsiteY157" fmla="*/ 2160064 h 2344739"/>
              <a:gd name="connsiteX158" fmla="*/ 4203199 w 12193149"/>
              <a:gd name="connsiteY158" fmla="*/ 2157269 h 2344739"/>
              <a:gd name="connsiteX159" fmla="*/ 4202893 w 12193149"/>
              <a:gd name="connsiteY159" fmla="*/ 2156010 h 2344739"/>
              <a:gd name="connsiteX160" fmla="*/ 4192396 w 12193149"/>
              <a:gd name="connsiteY160" fmla="*/ 2150376 h 2344739"/>
              <a:gd name="connsiteX161" fmla="*/ 4143893 w 12193149"/>
              <a:gd name="connsiteY161" fmla="*/ 2134511 h 2344739"/>
              <a:gd name="connsiteX162" fmla="*/ 4084245 w 12193149"/>
              <a:gd name="connsiteY162" fmla="*/ 2107978 h 2344739"/>
              <a:gd name="connsiteX163" fmla="*/ 4075694 w 12193149"/>
              <a:gd name="connsiteY163" fmla="*/ 2107143 h 2344739"/>
              <a:gd name="connsiteX164" fmla="*/ 4075575 w 12193149"/>
              <a:gd name="connsiteY164" fmla="*/ 2106844 h 2344739"/>
              <a:gd name="connsiteX165" fmla="*/ 4066658 w 12193149"/>
              <a:gd name="connsiteY165" fmla="*/ 2105400 h 2344739"/>
              <a:gd name="connsiteX166" fmla="*/ 4060102 w 12193149"/>
              <a:gd name="connsiteY166" fmla="*/ 2105618 h 2344739"/>
              <a:gd name="connsiteX167" fmla="*/ 4043512 w 12193149"/>
              <a:gd name="connsiteY167" fmla="*/ 2103997 h 2344739"/>
              <a:gd name="connsiteX168" fmla="*/ 4038145 w 12193149"/>
              <a:gd name="connsiteY168" fmla="*/ 2101563 h 2344739"/>
              <a:gd name="connsiteX169" fmla="*/ 4036511 w 12193149"/>
              <a:gd name="connsiteY169" fmla="*/ 2097896 h 2344739"/>
              <a:gd name="connsiteX170" fmla="*/ 4034926 w 12193149"/>
              <a:gd name="connsiteY170" fmla="*/ 2098131 h 2344739"/>
              <a:gd name="connsiteX171" fmla="*/ 4005686 w 12193149"/>
              <a:gd name="connsiteY171" fmla="*/ 2085563 h 2344739"/>
              <a:gd name="connsiteX172" fmla="*/ 3937994 w 12193149"/>
              <a:gd name="connsiteY172" fmla="*/ 2068106 h 2344739"/>
              <a:gd name="connsiteX173" fmla="*/ 3898423 w 12193149"/>
              <a:gd name="connsiteY173" fmla="*/ 2062451 h 2344739"/>
              <a:gd name="connsiteX174" fmla="*/ 3790908 w 12193149"/>
              <a:gd name="connsiteY174" fmla="*/ 2042213 h 2344739"/>
              <a:gd name="connsiteX175" fmla="*/ 3683661 w 12193149"/>
              <a:gd name="connsiteY175" fmla="*/ 2018290 h 2344739"/>
              <a:gd name="connsiteX176" fmla="*/ 3611183 w 12193149"/>
              <a:gd name="connsiteY176" fmla="*/ 1986019 h 2344739"/>
              <a:gd name="connsiteX177" fmla="*/ 3605003 w 12193149"/>
              <a:gd name="connsiteY177" fmla="*/ 1987381 h 2344739"/>
              <a:gd name="connsiteX178" fmla="*/ 3595884 w 12193149"/>
              <a:gd name="connsiteY178" fmla="*/ 1987545 h 2344739"/>
              <a:gd name="connsiteX179" fmla="*/ 3595649 w 12193149"/>
              <a:gd name="connsiteY179" fmla="*/ 1987276 h 2344739"/>
              <a:gd name="connsiteX180" fmla="*/ 3587126 w 12193149"/>
              <a:gd name="connsiteY180" fmla="*/ 1987966 h 2344739"/>
              <a:gd name="connsiteX181" fmla="*/ 3537283 w 12193149"/>
              <a:gd name="connsiteY181" fmla="*/ 1978267 h 2344739"/>
              <a:gd name="connsiteX182" fmla="*/ 3474371 w 12193149"/>
              <a:gd name="connsiteY182" fmla="*/ 1974606 h 2344739"/>
              <a:gd name="connsiteX183" fmla="*/ 3401876 w 12193149"/>
              <a:gd name="connsiteY183" fmla="*/ 1962558 h 2344739"/>
              <a:gd name="connsiteX184" fmla="*/ 3365036 w 12193149"/>
              <a:gd name="connsiteY184" fmla="*/ 1979510 h 2344739"/>
              <a:gd name="connsiteX185" fmla="*/ 3345174 w 12193149"/>
              <a:gd name="connsiteY185" fmla="*/ 1981192 h 2344739"/>
              <a:gd name="connsiteX186" fmla="*/ 3342846 w 12193149"/>
              <a:gd name="connsiteY186" fmla="*/ 1980217 h 2344739"/>
              <a:gd name="connsiteX187" fmla="*/ 3263504 w 12193149"/>
              <a:gd name="connsiteY187" fmla="*/ 1986094 h 2344739"/>
              <a:gd name="connsiteX188" fmla="*/ 3143704 w 12193149"/>
              <a:gd name="connsiteY188" fmla="*/ 1993869 h 2344739"/>
              <a:gd name="connsiteX189" fmla="*/ 3031439 w 12193149"/>
              <a:gd name="connsiteY189" fmla="*/ 1996512 h 2344739"/>
              <a:gd name="connsiteX190" fmla="*/ 2782717 w 12193149"/>
              <a:gd name="connsiteY190" fmla="*/ 2018333 h 2344739"/>
              <a:gd name="connsiteX191" fmla="*/ 2647675 w 12193149"/>
              <a:gd name="connsiteY191" fmla="*/ 2028869 h 2344739"/>
              <a:gd name="connsiteX192" fmla="*/ 2569176 w 12193149"/>
              <a:gd name="connsiteY192" fmla="*/ 2002628 h 2344739"/>
              <a:gd name="connsiteX193" fmla="*/ 2444403 w 12193149"/>
              <a:gd name="connsiteY193" fmla="*/ 2016529 h 2344739"/>
              <a:gd name="connsiteX194" fmla="*/ 2316260 w 12193149"/>
              <a:gd name="connsiteY194" fmla="*/ 2024996 h 2344739"/>
              <a:gd name="connsiteX195" fmla="*/ 2209726 w 12193149"/>
              <a:gd name="connsiteY195" fmla="*/ 2019763 h 2344739"/>
              <a:gd name="connsiteX196" fmla="*/ 2095813 w 12193149"/>
              <a:gd name="connsiteY196" fmla="*/ 2003052 h 2344739"/>
              <a:gd name="connsiteX197" fmla="*/ 1998504 w 12193149"/>
              <a:gd name="connsiteY197" fmla="*/ 1995032 h 2344739"/>
              <a:gd name="connsiteX198" fmla="*/ 1929320 w 12193149"/>
              <a:gd name="connsiteY198" fmla="*/ 2016977 h 2344739"/>
              <a:gd name="connsiteX199" fmla="*/ 1922798 w 12193149"/>
              <a:gd name="connsiteY199" fmla="*/ 2012146 h 2344739"/>
              <a:gd name="connsiteX200" fmla="*/ 1874228 w 12193149"/>
              <a:gd name="connsiteY200" fmla="*/ 2013741 h 2344739"/>
              <a:gd name="connsiteX201" fmla="*/ 1787803 w 12193149"/>
              <a:gd name="connsiteY201" fmla="*/ 2041363 h 2344739"/>
              <a:gd name="connsiteX202" fmla="*/ 1739352 w 12193149"/>
              <a:gd name="connsiteY202" fmla="*/ 2036312 h 2344739"/>
              <a:gd name="connsiteX203" fmla="*/ 1676219 w 12193149"/>
              <a:gd name="connsiteY203" fmla="*/ 2019963 h 2344739"/>
              <a:gd name="connsiteX204" fmla="*/ 1609817 w 12193149"/>
              <a:gd name="connsiteY204" fmla="*/ 2013066 h 2344739"/>
              <a:gd name="connsiteX205" fmla="*/ 1497258 w 12193149"/>
              <a:gd name="connsiteY205" fmla="*/ 1987476 h 2344739"/>
              <a:gd name="connsiteX206" fmla="*/ 1151127 w 12193149"/>
              <a:gd name="connsiteY206" fmla="*/ 1938041 h 2344739"/>
              <a:gd name="connsiteX207" fmla="*/ 859417 w 12193149"/>
              <a:gd name="connsiteY207" fmla="*/ 1928608 h 2344739"/>
              <a:gd name="connsiteX208" fmla="*/ 838688 w 12193149"/>
              <a:gd name="connsiteY208" fmla="*/ 1929821 h 2344739"/>
              <a:gd name="connsiteX209" fmla="*/ 817957 w 12193149"/>
              <a:gd name="connsiteY209" fmla="*/ 1927857 h 2344739"/>
              <a:gd name="connsiteX210" fmla="*/ 812654 w 12193149"/>
              <a:gd name="connsiteY210" fmla="*/ 1930751 h 2344739"/>
              <a:gd name="connsiteX211" fmla="*/ 721195 w 12193149"/>
              <a:gd name="connsiteY211" fmla="*/ 1929661 h 2344739"/>
              <a:gd name="connsiteX212" fmla="*/ 720890 w 12193149"/>
              <a:gd name="connsiteY212" fmla="*/ 1928399 h 2344739"/>
              <a:gd name="connsiteX213" fmla="*/ 710023 w 12193149"/>
              <a:gd name="connsiteY213" fmla="*/ 1922722 h 2344739"/>
              <a:gd name="connsiteX214" fmla="*/ 597940 w 12193149"/>
              <a:gd name="connsiteY214" fmla="*/ 1879864 h 2344739"/>
              <a:gd name="connsiteX215" fmla="*/ 579683 w 12193149"/>
              <a:gd name="connsiteY215" fmla="*/ 1877212 h 2344739"/>
              <a:gd name="connsiteX216" fmla="*/ 572865 w 12193149"/>
              <a:gd name="connsiteY216" fmla="*/ 1877401 h 2344739"/>
              <a:gd name="connsiteX217" fmla="*/ 446247 w 12193149"/>
              <a:gd name="connsiteY217" fmla="*/ 1839371 h 2344739"/>
              <a:gd name="connsiteX218" fmla="*/ 405163 w 12193149"/>
              <a:gd name="connsiteY218" fmla="*/ 1833548 h 2344739"/>
              <a:gd name="connsiteX219" fmla="*/ 293583 w 12193149"/>
              <a:gd name="connsiteY219" fmla="*/ 1812852 h 2344739"/>
              <a:gd name="connsiteX220" fmla="*/ 119529 w 12193149"/>
              <a:gd name="connsiteY220" fmla="*/ 1761047 h 2344739"/>
              <a:gd name="connsiteX221" fmla="*/ 16674 w 12193149"/>
              <a:gd name="connsiteY221" fmla="*/ 1758191 h 2344739"/>
              <a:gd name="connsiteX222" fmla="*/ 1150 w 12193149"/>
              <a:gd name="connsiteY222" fmla="*/ 1752722 h 2344739"/>
              <a:gd name="connsiteX223" fmla="*/ 1148 w 12193149"/>
              <a:gd name="connsiteY223" fmla="*/ 222213 h 2344739"/>
              <a:gd name="connsiteX224" fmla="*/ 1148 w 12193149"/>
              <a:gd name="connsiteY224"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749767 w 12193149"/>
              <a:gd name="connsiteY23" fmla="*/ 872002 h 2344739"/>
              <a:gd name="connsiteX24" fmla="*/ 11590693 w 12193149"/>
              <a:gd name="connsiteY24" fmla="*/ 963777 h 2344739"/>
              <a:gd name="connsiteX25" fmla="*/ 11506817 w 12193149"/>
              <a:gd name="connsiteY25" fmla="*/ 1033623 h 2344739"/>
              <a:gd name="connsiteX26" fmla="*/ 11280332 w 12193149"/>
              <a:gd name="connsiteY26" fmla="*/ 1223571 h 2344739"/>
              <a:gd name="connsiteX27" fmla="*/ 11228309 w 12193149"/>
              <a:gd name="connsiteY27" fmla="*/ 1276236 h 2344739"/>
              <a:gd name="connsiteX28" fmla="*/ 11218087 w 12193149"/>
              <a:gd name="connsiteY28" fmla="*/ 1275961 h 2344739"/>
              <a:gd name="connsiteX29" fmla="*/ 11217184 w 12193149"/>
              <a:gd name="connsiteY29" fmla="*/ 1275018 h 2344739"/>
              <a:gd name="connsiteX30" fmla="*/ 11188885 w 12193149"/>
              <a:gd name="connsiteY30" fmla="*/ 1292383 h 2344739"/>
              <a:gd name="connsiteX31" fmla="*/ 11184501 w 12193149"/>
              <a:gd name="connsiteY31" fmla="*/ 1292525 h 2344739"/>
              <a:gd name="connsiteX32" fmla="*/ 11166854 w 12193149"/>
              <a:gd name="connsiteY32" fmla="*/ 1306612 h 2344739"/>
              <a:gd name="connsiteX33" fmla="*/ 11157311 w 12193149"/>
              <a:gd name="connsiteY33" fmla="*/ 1312414 h 2344739"/>
              <a:gd name="connsiteX34" fmla="*/ 11155496 w 12193149"/>
              <a:gd name="connsiteY34" fmla="*/ 1317097 h 2344739"/>
              <a:gd name="connsiteX35" fmla="*/ 11140961 w 12193149"/>
              <a:gd name="connsiteY35" fmla="*/ 1324115 h 2344739"/>
              <a:gd name="connsiteX36" fmla="*/ 11138961 w 12193149"/>
              <a:gd name="connsiteY36" fmla="*/ 1323772 h 2344739"/>
              <a:gd name="connsiteX37" fmla="*/ 11128208 w 12193149"/>
              <a:gd name="connsiteY37" fmla="*/ 1333832 h 2344739"/>
              <a:gd name="connsiteX38" fmla="*/ 11120691 w 12193149"/>
              <a:gd name="connsiteY38" fmla="*/ 1347424 h 2344739"/>
              <a:gd name="connsiteX39" fmla="*/ 10894683 w 12193149"/>
              <a:gd name="connsiteY39" fmla="*/ 1473399 h 2344739"/>
              <a:gd name="connsiteX40" fmla="*/ 10773300 w 12193149"/>
              <a:gd name="connsiteY40" fmla="*/ 1523191 h 2344739"/>
              <a:gd name="connsiteX41" fmla="*/ 10627668 w 12193149"/>
              <a:gd name="connsiteY41" fmla="*/ 1559229 h 2344739"/>
              <a:gd name="connsiteX42" fmla="*/ 10581895 w 12193149"/>
              <a:gd name="connsiteY42" fmla="*/ 1568689 h 2344739"/>
              <a:gd name="connsiteX43" fmla="*/ 10547790 w 12193149"/>
              <a:gd name="connsiteY43" fmla="*/ 1598423 h 2344739"/>
              <a:gd name="connsiteX44" fmla="*/ 10529643 w 12193149"/>
              <a:gd name="connsiteY44" fmla="*/ 1596907 h 2344739"/>
              <a:gd name="connsiteX45" fmla="*/ 10526446 w 12193149"/>
              <a:gd name="connsiteY45" fmla="*/ 1596411 h 2344739"/>
              <a:gd name="connsiteX46" fmla="*/ 10515129 w 12193149"/>
              <a:gd name="connsiteY46" fmla="*/ 1599537 h 2344739"/>
              <a:gd name="connsiteX47" fmla="*/ 10491735 w 12193149"/>
              <a:gd name="connsiteY47" fmla="*/ 1594156 h 2344739"/>
              <a:gd name="connsiteX48" fmla="*/ 10471418 w 12193149"/>
              <a:gd name="connsiteY48" fmla="*/ 1601693 h 2344739"/>
              <a:gd name="connsiteX49" fmla="*/ 10377042 w 12193149"/>
              <a:gd name="connsiteY49" fmla="*/ 1644598 h 2344739"/>
              <a:gd name="connsiteX50" fmla="*/ 10319338 w 12193149"/>
              <a:gd name="connsiteY50" fmla="*/ 1666221 h 2344739"/>
              <a:gd name="connsiteX51" fmla="*/ 10295467 w 12193149"/>
              <a:gd name="connsiteY51" fmla="*/ 1668079 h 2344739"/>
              <a:gd name="connsiteX52" fmla="*/ 10263443 w 12193149"/>
              <a:gd name="connsiteY52" fmla="*/ 1674948 h 2344739"/>
              <a:gd name="connsiteX53" fmla="*/ 10205418 w 12193149"/>
              <a:gd name="connsiteY53" fmla="*/ 1682149 h 2344739"/>
              <a:gd name="connsiteX54" fmla="*/ 10177759 w 12193149"/>
              <a:gd name="connsiteY54" fmla="*/ 1692943 h 2344739"/>
              <a:gd name="connsiteX55" fmla="*/ 10165070 w 12193149"/>
              <a:gd name="connsiteY55" fmla="*/ 1693739 h 2344739"/>
              <a:gd name="connsiteX56" fmla="*/ 10156308 w 12193149"/>
              <a:gd name="connsiteY56" fmla="*/ 1707487 h 2344739"/>
              <a:gd name="connsiteX57" fmla="*/ 10118267 w 12193149"/>
              <a:gd name="connsiteY57" fmla="*/ 1731142 h 2344739"/>
              <a:gd name="connsiteX58" fmla="*/ 10101593 w 12193149"/>
              <a:gd name="connsiteY58" fmla="*/ 1742432 h 2344739"/>
              <a:gd name="connsiteX59" fmla="*/ 10083317 w 12193149"/>
              <a:gd name="connsiteY59" fmla="*/ 1743296 h 2344739"/>
              <a:gd name="connsiteX60" fmla="*/ 10040388 w 12193149"/>
              <a:gd name="connsiteY60" fmla="*/ 1741632 h 2344739"/>
              <a:gd name="connsiteX61" fmla="*/ 9961167 w 12193149"/>
              <a:gd name="connsiteY61" fmla="*/ 1757147 h 2344739"/>
              <a:gd name="connsiteX62" fmla="*/ 9848940 w 12193149"/>
              <a:gd name="connsiteY62" fmla="*/ 1763915 h 2344739"/>
              <a:gd name="connsiteX63" fmla="*/ 9729457 w 12193149"/>
              <a:gd name="connsiteY63" fmla="*/ 1784122 h 2344739"/>
              <a:gd name="connsiteX64" fmla="*/ 9585655 w 12193149"/>
              <a:gd name="connsiteY64" fmla="*/ 1795542 h 2344739"/>
              <a:gd name="connsiteX65" fmla="*/ 9344200 w 12193149"/>
              <a:gd name="connsiteY65" fmla="*/ 1841244 h 2344739"/>
              <a:gd name="connsiteX66" fmla="*/ 9232518 w 12193149"/>
              <a:gd name="connsiteY66" fmla="*/ 1893149 h 2344739"/>
              <a:gd name="connsiteX67" fmla="*/ 9195958 w 12193149"/>
              <a:gd name="connsiteY67" fmla="*/ 1903228 h 2344739"/>
              <a:gd name="connsiteX68" fmla="*/ 9190394 w 12193149"/>
              <a:gd name="connsiteY68" fmla="*/ 1912467 h 2344739"/>
              <a:gd name="connsiteX69" fmla="*/ 9114960 w 12193149"/>
              <a:gd name="connsiteY69" fmla="*/ 1919069 h 2344739"/>
              <a:gd name="connsiteX70" fmla="*/ 9054601 w 12193149"/>
              <a:gd name="connsiteY70" fmla="*/ 1910755 h 2344739"/>
              <a:gd name="connsiteX71" fmla="*/ 9006634 w 12193149"/>
              <a:gd name="connsiteY71" fmla="*/ 1914040 h 2344739"/>
              <a:gd name="connsiteX72" fmla="*/ 9006349 w 12193149"/>
              <a:gd name="connsiteY72" fmla="*/ 1913800 h 2344739"/>
              <a:gd name="connsiteX73" fmla="*/ 8997380 w 12193149"/>
              <a:gd name="connsiteY73" fmla="*/ 1915011 h 2344739"/>
              <a:gd name="connsiteX74" fmla="*/ 8991542 w 12193149"/>
              <a:gd name="connsiteY74" fmla="*/ 1917072 h 2344739"/>
              <a:gd name="connsiteX75" fmla="*/ 8975485 w 12193149"/>
              <a:gd name="connsiteY75" fmla="*/ 1920298 h 2344739"/>
              <a:gd name="connsiteX76" fmla="*/ 8969159 w 12193149"/>
              <a:gd name="connsiteY76" fmla="*/ 1919598 h 2344739"/>
              <a:gd name="connsiteX77" fmla="*/ 8964196 w 12193149"/>
              <a:gd name="connsiteY77" fmla="*/ 1917373 h 2344739"/>
              <a:gd name="connsiteX78" fmla="*/ 8930136 w 12193149"/>
              <a:gd name="connsiteY78" fmla="*/ 1914185 h 2344739"/>
              <a:gd name="connsiteX79" fmla="*/ 8753592 w 12193149"/>
              <a:gd name="connsiteY79" fmla="*/ 1933417 h 2344739"/>
              <a:gd name="connsiteX80" fmla="*/ 8708995 w 12193149"/>
              <a:gd name="connsiteY80" fmla="*/ 1935518 h 2344739"/>
              <a:gd name="connsiteX81" fmla="*/ 8597219 w 12193149"/>
              <a:gd name="connsiteY81" fmla="*/ 1944090 h 2344739"/>
              <a:gd name="connsiteX82" fmla="*/ 8526378 w 12193149"/>
              <a:gd name="connsiteY82" fmla="*/ 1929248 h 2344739"/>
              <a:gd name="connsiteX83" fmla="*/ 8512131 w 12193149"/>
              <a:gd name="connsiteY83" fmla="*/ 1935163 h 2344739"/>
              <a:gd name="connsiteX84" fmla="*/ 8507315 w 12193149"/>
              <a:gd name="connsiteY84" fmla="*/ 1938164 h 2344739"/>
              <a:gd name="connsiteX85" fmla="*/ 8499116 w 12193149"/>
              <a:gd name="connsiteY85" fmla="*/ 1940902 h 2344739"/>
              <a:gd name="connsiteX86" fmla="*/ 8498742 w 12193149"/>
              <a:gd name="connsiteY86" fmla="*/ 1940723 h 2344739"/>
              <a:gd name="connsiteX87" fmla="*/ 8491397 w 12193149"/>
              <a:gd name="connsiteY87" fmla="*/ 1943773 h 2344739"/>
              <a:gd name="connsiteX88" fmla="*/ 8368330 w 12193149"/>
              <a:gd name="connsiteY88" fmla="*/ 1957815 h 2344739"/>
              <a:gd name="connsiteX89" fmla="*/ 8354947 w 12193149"/>
              <a:gd name="connsiteY89" fmla="*/ 1958009 h 2344739"/>
              <a:gd name="connsiteX90" fmla="*/ 8321252 w 12193149"/>
              <a:gd name="connsiteY90" fmla="*/ 1974587 h 2344739"/>
              <a:gd name="connsiteX91" fmla="*/ 8315581 w 12193149"/>
              <a:gd name="connsiteY91" fmla="*/ 1974913 h 2344739"/>
              <a:gd name="connsiteX92" fmla="*/ 8296322 w 12193149"/>
              <a:gd name="connsiteY92" fmla="*/ 1988808 h 2344739"/>
              <a:gd name="connsiteX93" fmla="*/ 8285424 w 12193149"/>
              <a:gd name="connsiteY93" fmla="*/ 1994631 h 2344739"/>
              <a:gd name="connsiteX94" fmla="*/ 8284298 w 12193149"/>
              <a:gd name="connsiteY94" fmla="*/ 1999074 h 2344739"/>
              <a:gd name="connsiteX95" fmla="*/ 8267224 w 12193149"/>
              <a:gd name="connsiteY95" fmla="*/ 2006249 h 2344739"/>
              <a:gd name="connsiteX96" fmla="*/ 8264525 w 12193149"/>
              <a:gd name="connsiteY96" fmla="*/ 2006019 h 2344739"/>
              <a:gd name="connsiteX97" fmla="*/ 8253181 w 12193149"/>
              <a:gd name="connsiteY97" fmla="*/ 2015862 h 2344739"/>
              <a:gd name="connsiteX98" fmla="*/ 8246982 w 12193149"/>
              <a:gd name="connsiteY98" fmla="*/ 2028854 h 2344739"/>
              <a:gd name="connsiteX99" fmla="*/ 8091420 w 12193149"/>
              <a:gd name="connsiteY99" fmla="*/ 2075015 h 2344739"/>
              <a:gd name="connsiteX100" fmla="*/ 7906555 w 12193149"/>
              <a:gd name="connsiteY100" fmla="*/ 2116988 h 2344739"/>
              <a:gd name="connsiteX101" fmla="*/ 7719893 w 12193149"/>
              <a:gd name="connsiteY101" fmla="*/ 2142703 h 2344739"/>
              <a:gd name="connsiteX102" fmla="*/ 7615495 w 12193149"/>
              <a:gd name="connsiteY102" fmla="*/ 2139232 h 2344739"/>
              <a:gd name="connsiteX103" fmla="*/ 7528691 w 12193149"/>
              <a:gd name="connsiteY103" fmla="*/ 2145060 h 2344739"/>
              <a:gd name="connsiteX104" fmla="*/ 7520719 w 12193149"/>
              <a:gd name="connsiteY104" fmla="*/ 2147613 h 2344739"/>
              <a:gd name="connsiteX105" fmla="*/ 7508559 w 12193149"/>
              <a:gd name="connsiteY105" fmla="*/ 2148948 h 2344739"/>
              <a:gd name="connsiteX106" fmla="*/ 7508188 w 12193149"/>
              <a:gd name="connsiteY106" fmla="*/ 2148621 h 2344739"/>
              <a:gd name="connsiteX107" fmla="*/ 7496943 w 12193149"/>
              <a:gd name="connsiteY107" fmla="*/ 2150573 h 2344739"/>
              <a:gd name="connsiteX108" fmla="*/ 7406539 w 12193149"/>
              <a:gd name="connsiteY108" fmla="*/ 2142468 h 2344739"/>
              <a:gd name="connsiteX109" fmla="*/ 7219707 w 12193149"/>
              <a:gd name="connsiteY109" fmla="*/ 2156680 h 2344739"/>
              <a:gd name="connsiteX110" fmla="*/ 7202249 w 12193149"/>
              <a:gd name="connsiteY110" fmla="*/ 2161230 h 2344739"/>
              <a:gd name="connsiteX111" fmla="*/ 7198152 w 12193149"/>
              <a:gd name="connsiteY111" fmla="*/ 2166588 h 2344739"/>
              <a:gd name="connsiteX112" fmla="*/ 7171956 w 12193149"/>
              <a:gd name="connsiteY112" fmla="*/ 2171236 h 2344739"/>
              <a:gd name="connsiteX113" fmla="*/ 7098136 w 12193149"/>
              <a:gd name="connsiteY113" fmla="*/ 2183464 h 2344739"/>
              <a:gd name="connsiteX114" fmla="*/ 7019644 w 12193149"/>
              <a:gd name="connsiteY114" fmla="*/ 2183090 h 2344739"/>
              <a:gd name="connsiteX115" fmla="*/ 6905294 w 12193149"/>
              <a:gd name="connsiteY115" fmla="*/ 2212596 h 2344739"/>
              <a:gd name="connsiteX116" fmla="*/ 6709370 w 12193149"/>
              <a:gd name="connsiteY116" fmla="*/ 2240551 h 2344739"/>
              <a:gd name="connsiteX117" fmla="*/ 6550602 w 12193149"/>
              <a:gd name="connsiteY117" fmla="*/ 2269327 h 2344739"/>
              <a:gd name="connsiteX118" fmla="*/ 6318708 w 12193149"/>
              <a:gd name="connsiteY118" fmla="*/ 2316127 h 2344739"/>
              <a:gd name="connsiteX119" fmla="*/ 6169822 w 12193149"/>
              <a:gd name="connsiteY119" fmla="*/ 2318214 h 2344739"/>
              <a:gd name="connsiteX120" fmla="*/ 6074996 w 12193149"/>
              <a:gd name="connsiteY120" fmla="*/ 2338676 h 2344739"/>
              <a:gd name="connsiteX121" fmla="*/ 6069677 w 12193149"/>
              <a:gd name="connsiteY121" fmla="*/ 2337139 h 2344739"/>
              <a:gd name="connsiteX122" fmla="*/ 6049786 w 12193149"/>
              <a:gd name="connsiteY122" fmla="*/ 2337822 h 2344739"/>
              <a:gd name="connsiteX123" fmla="*/ 6042433 w 12193149"/>
              <a:gd name="connsiteY123" fmla="*/ 2329473 h 2344739"/>
              <a:gd name="connsiteX124" fmla="*/ 6011238 w 12193149"/>
              <a:gd name="connsiteY124" fmla="*/ 2324380 h 2344739"/>
              <a:gd name="connsiteX125" fmla="*/ 5958523 w 12193149"/>
              <a:gd name="connsiteY125" fmla="*/ 2328024 h 2344739"/>
              <a:gd name="connsiteX126" fmla="*/ 5760067 w 12193149"/>
              <a:gd name="connsiteY126" fmla="*/ 2343716 h 2344739"/>
              <a:gd name="connsiteX127" fmla="*/ 5628108 w 12193149"/>
              <a:gd name="connsiteY127" fmla="*/ 2344739 h 2344739"/>
              <a:gd name="connsiteX128" fmla="*/ 5472054 w 12193149"/>
              <a:gd name="connsiteY128" fmla="*/ 2330719 h 2344739"/>
              <a:gd name="connsiteX129" fmla="*/ 5433909 w 12193149"/>
              <a:gd name="connsiteY129" fmla="*/ 2319466 h 2344739"/>
              <a:gd name="connsiteX130" fmla="*/ 5382817 w 12193149"/>
              <a:gd name="connsiteY130" fmla="*/ 2301764 h 2344739"/>
              <a:gd name="connsiteX131" fmla="*/ 5262912 w 12193149"/>
              <a:gd name="connsiteY131" fmla="*/ 2281347 h 2344739"/>
              <a:gd name="connsiteX132" fmla="*/ 5224109 w 12193149"/>
              <a:gd name="connsiteY132" fmla="*/ 2270223 h 2344739"/>
              <a:gd name="connsiteX133" fmla="*/ 5175808 w 12193149"/>
              <a:gd name="connsiteY133" fmla="*/ 2267233 h 2344739"/>
              <a:gd name="connsiteX134" fmla="*/ 5157702 w 12193149"/>
              <a:gd name="connsiteY134" fmla="*/ 2260010 h 2344739"/>
              <a:gd name="connsiteX135" fmla="*/ 5143747 w 12193149"/>
              <a:gd name="connsiteY135" fmla="*/ 2256610 h 2344739"/>
              <a:gd name="connsiteX136" fmla="*/ 5140744 w 12193149"/>
              <a:gd name="connsiteY136" fmla="*/ 2254509 h 2344739"/>
              <a:gd name="connsiteX137" fmla="*/ 5122807 w 12193149"/>
              <a:gd name="connsiteY137" fmla="*/ 2243656 h 2344739"/>
              <a:gd name="connsiteX138" fmla="*/ 5066938 w 12193149"/>
              <a:gd name="connsiteY138" fmla="*/ 2250227 h 2344739"/>
              <a:gd name="connsiteX139" fmla="*/ 5012662 w 12193149"/>
              <a:gd name="connsiteY139" fmla="*/ 2233846 h 2344739"/>
              <a:gd name="connsiteX140" fmla="*/ 4841589 w 12193149"/>
              <a:gd name="connsiteY140" fmla="*/ 2209829 h 2344739"/>
              <a:gd name="connsiteX141" fmla="*/ 4763595 w 12193149"/>
              <a:gd name="connsiteY141" fmla="*/ 2182061 h 2344739"/>
              <a:gd name="connsiteX142" fmla="*/ 4724334 w 12193149"/>
              <a:gd name="connsiteY142" fmla="*/ 2173047 h 2344739"/>
              <a:gd name="connsiteX143" fmla="*/ 4722324 w 12193149"/>
              <a:gd name="connsiteY143" fmla="*/ 2172298 h 2344739"/>
              <a:gd name="connsiteX144" fmla="*/ 4723259 w 12193149"/>
              <a:gd name="connsiteY144" fmla="*/ 2172087 h 2344739"/>
              <a:gd name="connsiteX145" fmla="*/ 4718350 w 12193149"/>
              <a:gd name="connsiteY145" fmla="*/ 2170817 h 2344739"/>
              <a:gd name="connsiteX146" fmla="*/ 4722324 w 12193149"/>
              <a:gd name="connsiteY146" fmla="*/ 2172298 h 2344739"/>
              <a:gd name="connsiteX147" fmla="*/ 4716674 w 12193149"/>
              <a:gd name="connsiteY147" fmla="*/ 2173573 h 2344739"/>
              <a:gd name="connsiteX148" fmla="*/ 4516962 w 12193149"/>
              <a:gd name="connsiteY148" fmla="*/ 2163671 h 2344739"/>
              <a:gd name="connsiteX149" fmla="*/ 4429691 w 12193149"/>
              <a:gd name="connsiteY149" fmla="*/ 2153020 h 2344739"/>
              <a:gd name="connsiteX150" fmla="*/ 4364023 w 12193149"/>
              <a:gd name="connsiteY150" fmla="*/ 2151674 h 2344739"/>
              <a:gd name="connsiteX151" fmla="*/ 4318114 w 12193149"/>
              <a:gd name="connsiteY151" fmla="*/ 2158289 h 2344739"/>
              <a:gd name="connsiteX152" fmla="*/ 4316258 w 12193149"/>
              <a:gd name="connsiteY152" fmla="*/ 2156948 h 2344739"/>
              <a:gd name="connsiteX153" fmla="*/ 4296292 w 12193149"/>
              <a:gd name="connsiteY153" fmla="*/ 2155069 h 2344739"/>
              <a:gd name="connsiteX154" fmla="*/ 4291212 w 12193149"/>
              <a:gd name="connsiteY154" fmla="*/ 2157986 h 2344739"/>
              <a:gd name="connsiteX155" fmla="*/ 4277290 w 12193149"/>
              <a:gd name="connsiteY155" fmla="*/ 2157740 h 2344739"/>
              <a:gd name="connsiteX156" fmla="*/ 4249265 w 12193149"/>
              <a:gd name="connsiteY156" fmla="*/ 2160064 h 2344739"/>
              <a:gd name="connsiteX157" fmla="*/ 4203199 w 12193149"/>
              <a:gd name="connsiteY157" fmla="*/ 2157269 h 2344739"/>
              <a:gd name="connsiteX158" fmla="*/ 4202893 w 12193149"/>
              <a:gd name="connsiteY158" fmla="*/ 2156010 h 2344739"/>
              <a:gd name="connsiteX159" fmla="*/ 4192396 w 12193149"/>
              <a:gd name="connsiteY159" fmla="*/ 2150376 h 2344739"/>
              <a:gd name="connsiteX160" fmla="*/ 4143893 w 12193149"/>
              <a:gd name="connsiteY160" fmla="*/ 2134511 h 2344739"/>
              <a:gd name="connsiteX161" fmla="*/ 4084245 w 12193149"/>
              <a:gd name="connsiteY161" fmla="*/ 2107978 h 2344739"/>
              <a:gd name="connsiteX162" fmla="*/ 4075694 w 12193149"/>
              <a:gd name="connsiteY162" fmla="*/ 2107143 h 2344739"/>
              <a:gd name="connsiteX163" fmla="*/ 4075575 w 12193149"/>
              <a:gd name="connsiteY163" fmla="*/ 2106844 h 2344739"/>
              <a:gd name="connsiteX164" fmla="*/ 4066658 w 12193149"/>
              <a:gd name="connsiteY164" fmla="*/ 2105400 h 2344739"/>
              <a:gd name="connsiteX165" fmla="*/ 4060102 w 12193149"/>
              <a:gd name="connsiteY165" fmla="*/ 2105618 h 2344739"/>
              <a:gd name="connsiteX166" fmla="*/ 4043512 w 12193149"/>
              <a:gd name="connsiteY166" fmla="*/ 2103997 h 2344739"/>
              <a:gd name="connsiteX167" fmla="*/ 4038145 w 12193149"/>
              <a:gd name="connsiteY167" fmla="*/ 2101563 h 2344739"/>
              <a:gd name="connsiteX168" fmla="*/ 4036511 w 12193149"/>
              <a:gd name="connsiteY168" fmla="*/ 2097896 h 2344739"/>
              <a:gd name="connsiteX169" fmla="*/ 4034926 w 12193149"/>
              <a:gd name="connsiteY169" fmla="*/ 2098131 h 2344739"/>
              <a:gd name="connsiteX170" fmla="*/ 4005686 w 12193149"/>
              <a:gd name="connsiteY170" fmla="*/ 2085563 h 2344739"/>
              <a:gd name="connsiteX171" fmla="*/ 3937994 w 12193149"/>
              <a:gd name="connsiteY171" fmla="*/ 2068106 h 2344739"/>
              <a:gd name="connsiteX172" fmla="*/ 3898423 w 12193149"/>
              <a:gd name="connsiteY172" fmla="*/ 2062451 h 2344739"/>
              <a:gd name="connsiteX173" fmla="*/ 3790908 w 12193149"/>
              <a:gd name="connsiteY173" fmla="*/ 2042213 h 2344739"/>
              <a:gd name="connsiteX174" fmla="*/ 3683661 w 12193149"/>
              <a:gd name="connsiteY174" fmla="*/ 2018290 h 2344739"/>
              <a:gd name="connsiteX175" fmla="*/ 3611183 w 12193149"/>
              <a:gd name="connsiteY175" fmla="*/ 1986019 h 2344739"/>
              <a:gd name="connsiteX176" fmla="*/ 3605003 w 12193149"/>
              <a:gd name="connsiteY176" fmla="*/ 1987381 h 2344739"/>
              <a:gd name="connsiteX177" fmla="*/ 3595884 w 12193149"/>
              <a:gd name="connsiteY177" fmla="*/ 1987545 h 2344739"/>
              <a:gd name="connsiteX178" fmla="*/ 3595649 w 12193149"/>
              <a:gd name="connsiteY178" fmla="*/ 1987276 h 2344739"/>
              <a:gd name="connsiteX179" fmla="*/ 3587126 w 12193149"/>
              <a:gd name="connsiteY179" fmla="*/ 1987966 h 2344739"/>
              <a:gd name="connsiteX180" fmla="*/ 3537283 w 12193149"/>
              <a:gd name="connsiteY180" fmla="*/ 1978267 h 2344739"/>
              <a:gd name="connsiteX181" fmla="*/ 3474371 w 12193149"/>
              <a:gd name="connsiteY181" fmla="*/ 1974606 h 2344739"/>
              <a:gd name="connsiteX182" fmla="*/ 3401876 w 12193149"/>
              <a:gd name="connsiteY182" fmla="*/ 1962558 h 2344739"/>
              <a:gd name="connsiteX183" fmla="*/ 3365036 w 12193149"/>
              <a:gd name="connsiteY183" fmla="*/ 1979510 h 2344739"/>
              <a:gd name="connsiteX184" fmla="*/ 3345174 w 12193149"/>
              <a:gd name="connsiteY184" fmla="*/ 1981192 h 2344739"/>
              <a:gd name="connsiteX185" fmla="*/ 3342846 w 12193149"/>
              <a:gd name="connsiteY185" fmla="*/ 1980217 h 2344739"/>
              <a:gd name="connsiteX186" fmla="*/ 3263504 w 12193149"/>
              <a:gd name="connsiteY186" fmla="*/ 1986094 h 2344739"/>
              <a:gd name="connsiteX187" fmla="*/ 3143704 w 12193149"/>
              <a:gd name="connsiteY187" fmla="*/ 1993869 h 2344739"/>
              <a:gd name="connsiteX188" fmla="*/ 3031439 w 12193149"/>
              <a:gd name="connsiteY188" fmla="*/ 1996512 h 2344739"/>
              <a:gd name="connsiteX189" fmla="*/ 2782717 w 12193149"/>
              <a:gd name="connsiteY189" fmla="*/ 2018333 h 2344739"/>
              <a:gd name="connsiteX190" fmla="*/ 2647675 w 12193149"/>
              <a:gd name="connsiteY190" fmla="*/ 2028869 h 2344739"/>
              <a:gd name="connsiteX191" fmla="*/ 2569176 w 12193149"/>
              <a:gd name="connsiteY191" fmla="*/ 2002628 h 2344739"/>
              <a:gd name="connsiteX192" fmla="*/ 2444403 w 12193149"/>
              <a:gd name="connsiteY192" fmla="*/ 2016529 h 2344739"/>
              <a:gd name="connsiteX193" fmla="*/ 2316260 w 12193149"/>
              <a:gd name="connsiteY193" fmla="*/ 2024996 h 2344739"/>
              <a:gd name="connsiteX194" fmla="*/ 2209726 w 12193149"/>
              <a:gd name="connsiteY194" fmla="*/ 2019763 h 2344739"/>
              <a:gd name="connsiteX195" fmla="*/ 2095813 w 12193149"/>
              <a:gd name="connsiteY195" fmla="*/ 2003052 h 2344739"/>
              <a:gd name="connsiteX196" fmla="*/ 1998504 w 12193149"/>
              <a:gd name="connsiteY196" fmla="*/ 1995032 h 2344739"/>
              <a:gd name="connsiteX197" fmla="*/ 1929320 w 12193149"/>
              <a:gd name="connsiteY197" fmla="*/ 2016977 h 2344739"/>
              <a:gd name="connsiteX198" fmla="*/ 1922798 w 12193149"/>
              <a:gd name="connsiteY198" fmla="*/ 2012146 h 2344739"/>
              <a:gd name="connsiteX199" fmla="*/ 1874228 w 12193149"/>
              <a:gd name="connsiteY199" fmla="*/ 2013741 h 2344739"/>
              <a:gd name="connsiteX200" fmla="*/ 1787803 w 12193149"/>
              <a:gd name="connsiteY200" fmla="*/ 2041363 h 2344739"/>
              <a:gd name="connsiteX201" fmla="*/ 1739352 w 12193149"/>
              <a:gd name="connsiteY201" fmla="*/ 2036312 h 2344739"/>
              <a:gd name="connsiteX202" fmla="*/ 1676219 w 12193149"/>
              <a:gd name="connsiteY202" fmla="*/ 2019963 h 2344739"/>
              <a:gd name="connsiteX203" fmla="*/ 1609817 w 12193149"/>
              <a:gd name="connsiteY203" fmla="*/ 2013066 h 2344739"/>
              <a:gd name="connsiteX204" fmla="*/ 1497258 w 12193149"/>
              <a:gd name="connsiteY204" fmla="*/ 1987476 h 2344739"/>
              <a:gd name="connsiteX205" fmla="*/ 1151127 w 12193149"/>
              <a:gd name="connsiteY205" fmla="*/ 1938041 h 2344739"/>
              <a:gd name="connsiteX206" fmla="*/ 859417 w 12193149"/>
              <a:gd name="connsiteY206" fmla="*/ 1928608 h 2344739"/>
              <a:gd name="connsiteX207" fmla="*/ 838688 w 12193149"/>
              <a:gd name="connsiteY207" fmla="*/ 1929821 h 2344739"/>
              <a:gd name="connsiteX208" fmla="*/ 817957 w 12193149"/>
              <a:gd name="connsiteY208" fmla="*/ 1927857 h 2344739"/>
              <a:gd name="connsiteX209" fmla="*/ 812654 w 12193149"/>
              <a:gd name="connsiteY209" fmla="*/ 1930751 h 2344739"/>
              <a:gd name="connsiteX210" fmla="*/ 721195 w 12193149"/>
              <a:gd name="connsiteY210" fmla="*/ 1929661 h 2344739"/>
              <a:gd name="connsiteX211" fmla="*/ 720890 w 12193149"/>
              <a:gd name="connsiteY211" fmla="*/ 1928399 h 2344739"/>
              <a:gd name="connsiteX212" fmla="*/ 710023 w 12193149"/>
              <a:gd name="connsiteY212" fmla="*/ 1922722 h 2344739"/>
              <a:gd name="connsiteX213" fmla="*/ 597940 w 12193149"/>
              <a:gd name="connsiteY213" fmla="*/ 1879864 h 2344739"/>
              <a:gd name="connsiteX214" fmla="*/ 579683 w 12193149"/>
              <a:gd name="connsiteY214" fmla="*/ 1877212 h 2344739"/>
              <a:gd name="connsiteX215" fmla="*/ 572865 w 12193149"/>
              <a:gd name="connsiteY215" fmla="*/ 1877401 h 2344739"/>
              <a:gd name="connsiteX216" fmla="*/ 446247 w 12193149"/>
              <a:gd name="connsiteY216" fmla="*/ 1839371 h 2344739"/>
              <a:gd name="connsiteX217" fmla="*/ 405163 w 12193149"/>
              <a:gd name="connsiteY217" fmla="*/ 1833548 h 2344739"/>
              <a:gd name="connsiteX218" fmla="*/ 293583 w 12193149"/>
              <a:gd name="connsiteY218" fmla="*/ 1812852 h 2344739"/>
              <a:gd name="connsiteX219" fmla="*/ 119529 w 12193149"/>
              <a:gd name="connsiteY219" fmla="*/ 1761047 h 2344739"/>
              <a:gd name="connsiteX220" fmla="*/ 16674 w 12193149"/>
              <a:gd name="connsiteY220" fmla="*/ 1758191 h 2344739"/>
              <a:gd name="connsiteX221" fmla="*/ 1150 w 12193149"/>
              <a:gd name="connsiteY221" fmla="*/ 1752722 h 2344739"/>
              <a:gd name="connsiteX222" fmla="*/ 1148 w 12193149"/>
              <a:gd name="connsiteY222" fmla="*/ 222213 h 2344739"/>
              <a:gd name="connsiteX223" fmla="*/ 1148 w 12193149"/>
              <a:gd name="connsiteY223"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749767 w 12193149"/>
              <a:gd name="connsiteY23" fmla="*/ 872002 h 2344739"/>
              <a:gd name="connsiteX24" fmla="*/ 11590693 w 12193149"/>
              <a:gd name="connsiteY24" fmla="*/ 963777 h 2344739"/>
              <a:gd name="connsiteX25" fmla="*/ 11506817 w 12193149"/>
              <a:gd name="connsiteY25" fmla="*/ 1033623 h 2344739"/>
              <a:gd name="connsiteX26" fmla="*/ 11280332 w 12193149"/>
              <a:gd name="connsiteY26" fmla="*/ 1223571 h 2344739"/>
              <a:gd name="connsiteX27" fmla="*/ 11228309 w 12193149"/>
              <a:gd name="connsiteY27" fmla="*/ 1276236 h 2344739"/>
              <a:gd name="connsiteX28" fmla="*/ 11218087 w 12193149"/>
              <a:gd name="connsiteY28" fmla="*/ 1275961 h 2344739"/>
              <a:gd name="connsiteX29" fmla="*/ 11217184 w 12193149"/>
              <a:gd name="connsiteY29" fmla="*/ 1275018 h 2344739"/>
              <a:gd name="connsiteX30" fmla="*/ 11188885 w 12193149"/>
              <a:gd name="connsiteY30" fmla="*/ 1292383 h 2344739"/>
              <a:gd name="connsiteX31" fmla="*/ 11184501 w 12193149"/>
              <a:gd name="connsiteY31" fmla="*/ 1292525 h 2344739"/>
              <a:gd name="connsiteX32" fmla="*/ 11166854 w 12193149"/>
              <a:gd name="connsiteY32" fmla="*/ 1306612 h 2344739"/>
              <a:gd name="connsiteX33" fmla="*/ 11157311 w 12193149"/>
              <a:gd name="connsiteY33" fmla="*/ 1312414 h 2344739"/>
              <a:gd name="connsiteX34" fmla="*/ 11155496 w 12193149"/>
              <a:gd name="connsiteY34" fmla="*/ 1317097 h 2344739"/>
              <a:gd name="connsiteX35" fmla="*/ 11140961 w 12193149"/>
              <a:gd name="connsiteY35" fmla="*/ 1324115 h 2344739"/>
              <a:gd name="connsiteX36" fmla="*/ 11138961 w 12193149"/>
              <a:gd name="connsiteY36" fmla="*/ 1323772 h 2344739"/>
              <a:gd name="connsiteX37" fmla="*/ 11128208 w 12193149"/>
              <a:gd name="connsiteY37" fmla="*/ 1333832 h 2344739"/>
              <a:gd name="connsiteX38" fmla="*/ 11120691 w 12193149"/>
              <a:gd name="connsiteY38" fmla="*/ 1347424 h 2344739"/>
              <a:gd name="connsiteX39" fmla="*/ 10894683 w 12193149"/>
              <a:gd name="connsiteY39" fmla="*/ 1473399 h 2344739"/>
              <a:gd name="connsiteX40" fmla="*/ 10773300 w 12193149"/>
              <a:gd name="connsiteY40" fmla="*/ 1523191 h 2344739"/>
              <a:gd name="connsiteX41" fmla="*/ 10627668 w 12193149"/>
              <a:gd name="connsiteY41" fmla="*/ 1559229 h 2344739"/>
              <a:gd name="connsiteX42" fmla="*/ 10581895 w 12193149"/>
              <a:gd name="connsiteY42" fmla="*/ 1568689 h 2344739"/>
              <a:gd name="connsiteX43" fmla="*/ 10547790 w 12193149"/>
              <a:gd name="connsiteY43" fmla="*/ 1598423 h 2344739"/>
              <a:gd name="connsiteX44" fmla="*/ 10529643 w 12193149"/>
              <a:gd name="connsiteY44" fmla="*/ 1596907 h 2344739"/>
              <a:gd name="connsiteX45" fmla="*/ 10526446 w 12193149"/>
              <a:gd name="connsiteY45" fmla="*/ 1596411 h 2344739"/>
              <a:gd name="connsiteX46" fmla="*/ 10515129 w 12193149"/>
              <a:gd name="connsiteY46" fmla="*/ 1599537 h 2344739"/>
              <a:gd name="connsiteX47" fmla="*/ 10491735 w 12193149"/>
              <a:gd name="connsiteY47" fmla="*/ 1594156 h 2344739"/>
              <a:gd name="connsiteX48" fmla="*/ 10471418 w 12193149"/>
              <a:gd name="connsiteY48" fmla="*/ 1601693 h 2344739"/>
              <a:gd name="connsiteX49" fmla="*/ 10377042 w 12193149"/>
              <a:gd name="connsiteY49" fmla="*/ 1644598 h 2344739"/>
              <a:gd name="connsiteX50" fmla="*/ 10319338 w 12193149"/>
              <a:gd name="connsiteY50" fmla="*/ 1666221 h 2344739"/>
              <a:gd name="connsiteX51" fmla="*/ 10295467 w 12193149"/>
              <a:gd name="connsiteY51" fmla="*/ 1668079 h 2344739"/>
              <a:gd name="connsiteX52" fmla="*/ 10263443 w 12193149"/>
              <a:gd name="connsiteY52" fmla="*/ 1674948 h 2344739"/>
              <a:gd name="connsiteX53" fmla="*/ 10205418 w 12193149"/>
              <a:gd name="connsiteY53" fmla="*/ 1682149 h 2344739"/>
              <a:gd name="connsiteX54" fmla="*/ 10177759 w 12193149"/>
              <a:gd name="connsiteY54" fmla="*/ 1692943 h 2344739"/>
              <a:gd name="connsiteX55" fmla="*/ 10165070 w 12193149"/>
              <a:gd name="connsiteY55" fmla="*/ 1693739 h 2344739"/>
              <a:gd name="connsiteX56" fmla="*/ 10156308 w 12193149"/>
              <a:gd name="connsiteY56" fmla="*/ 1707487 h 2344739"/>
              <a:gd name="connsiteX57" fmla="*/ 10118267 w 12193149"/>
              <a:gd name="connsiteY57" fmla="*/ 1731142 h 2344739"/>
              <a:gd name="connsiteX58" fmla="*/ 10101593 w 12193149"/>
              <a:gd name="connsiteY58" fmla="*/ 1742432 h 2344739"/>
              <a:gd name="connsiteX59" fmla="*/ 10083317 w 12193149"/>
              <a:gd name="connsiteY59" fmla="*/ 1743296 h 2344739"/>
              <a:gd name="connsiteX60" fmla="*/ 10040388 w 12193149"/>
              <a:gd name="connsiteY60" fmla="*/ 1741632 h 2344739"/>
              <a:gd name="connsiteX61" fmla="*/ 9961167 w 12193149"/>
              <a:gd name="connsiteY61" fmla="*/ 1757147 h 2344739"/>
              <a:gd name="connsiteX62" fmla="*/ 9848940 w 12193149"/>
              <a:gd name="connsiteY62" fmla="*/ 1763915 h 2344739"/>
              <a:gd name="connsiteX63" fmla="*/ 9729457 w 12193149"/>
              <a:gd name="connsiteY63" fmla="*/ 1784122 h 2344739"/>
              <a:gd name="connsiteX64" fmla="*/ 9585655 w 12193149"/>
              <a:gd name="connsiteY64" fmla="*/ 1795542 h 2344739"/>
              <a:gd name="connsiteX65" fmla="*/ 9344200 w 12193149"/>
              <a:gd name="connsiteY65" fmla="*/ 1841244 h 2344739"/>
              <a:gd name="connsiteX66" fmla="*/ 9232518 w 12193149"/>
              <a:gd name="connsiteY66" fmla="*/ 1893149 h 2344739"/>
              <a:gd name="connsiteX67" fmla="*/ 9195958 w 12193149"/>
              <a:gd name="connsiteY67" fmla="*/ 1903228 h 2344739"/>
              <a:gd name="connsiteX68" fmla="*/ 9114960 w 12193149"/>
              <a:gd name="connsiteY68" fmla="*/ 1919069 h 2344739"/>
              <a:gd name="connsiteX69" fmla="*/ 9054601 w 12193149"/>
              <a:gd name="connsiteY69" fmla="*/ 1910755 h 2344739"/>
              <a:gd name="connsiteX70" fmla="*/ 9006634 w 12193149"/>
              <a:gd name="connsiteY70" fmla="*/ 1914040 h 2344739"/>
              <a:gd name="connsiteX71" fmla="*/ 9006349 w 12193149"/>
              <a:gd name="connsiteY71" fmla="*/ 1913800 h 2344739"/>
              <a:gd name="connsiteX72" fmla="*/ 8997380 w 12193149"/>
              <a:gd name="connsiteY72" fmla="*/ 1915011 h 2344739"/>
              <a:gd name="connsiteX73" fmla="*/ 8991542 w 12193149"/>
              <a:gd name="connsiteY73" fmla="*/ 1917072 h 2344739"/>
              <a:gd name="connsiteX74" fmla="*/ 8975485 w 12193149"/>
              <a:gd name="connsiteY74" fmla="*/ 1920298 h 2344739"/>
              <a:gd name="connsiteX75" fmla="*/ 8969159 w 12193149"/>
              <a:gd name="connsiteY75" fmla="*/ 1919598 h 2344739"/>
              <a:gd name="connsiteX76" fmla="*/ 8964196 w 12193149"/>
              <a:gd name="connsiteY76" fmla="*/ 1917373 h 2344739"/>
              <a:gd name="connsiteX77" fmla="*/ 8930136 w 12193149"/>
              <a:gd name="connsiteY77" fmla="*/ 1914185 h 2344739"/>
              <a:gd name="connsiteX78" fmla="*/ 8753592 w 12193149"/>
              <a:gd name="connsiteY78" fmla="*/ 1933417 h 2344739"/>
              <a:gd name="connsiteX79" fmla="*/ 8708995 w 12193149"/>
              <a:gd name="connsiteY79" fmla="*/ 1935518 h 2344739"/>
              <a:gd name="connsiteX80" fmla="*/ 8597219 w 12193149"/>
              <a:gd name="connsiteY80" fmla="*/ 1944090 h 2344739"/>
              <a:gd name="connsiteX81" fmla="*/ 8526378 w 12193149"/>
              <a:gd name="connsiteY81" fmla="*/ 1929248 h 2344739"/>
              <a:gd name="connsiteX82" fmla="*/ 8512131 w 12193149"/>
              <a:gd name="connsiteY82" fmla="*/ 1935163 h 2344739"/>
              <a:gd name="connsiteX83" fmla="*/ 8507315 w 12193149"/>
              <a:gd name="connsiteY83" fmla="*/ 1938164 h 2344739"/>
              <a:gd name="connsiteX84" fmla="*/ 8499116 w 12193149"/>
              <a:gd name="connsiteY84" fmla="*/ 1940902 h 2344739"/>
              <a:gd name="connsiteX85" fmla="*/ 8498742 w 12193149"/>
              <a:gd name="connsiteY85" fmla="*/ 1940723 h 2344739"/>
              <a:gd name="connsiteX86" fmla="*/ 8491397 w 12193149"/>
              <a:gd name="connsiteY86" fmla="*/ 1943773 h 2344739"/>
              <a:gd name="connsiteX87" fmla="*/ 8368330 w 12193149"/>
              <a:gd name="connsiteY87" fmla="*/ 1957815 h 2344739"/>
              <a:gd name="connsiteX88" fmla="*/ 8354947 w 12193149"/>
              <a:gd name="connsiteY88" fmla="*/ 1958009 h 2344739"/>
              <a:gd name="connsiteX89" fmla="*/ 8321252 w 12193149"/>
              <a:gd name="connsiteY89" fmla="*/ 1974587 h 2344739"/>
              <a:gd name="connsiteX90" fmla="*/ 8315581 w 12193149"/>
              <a:gd name="connsiteY90" fmla="*/ 1974913 h 2344739"/>
              <a:gd name="connsiteX91" fmla="*/ 8296322 w 12193149"/>
              <a:gd name="connsiteY91" fmla="*/ 1988808 h 2344739"/>
              <a:gd name="connsiteX92" fmla="*/ 8285424 w 12193149"/>
              <a:gd name="connsiteY92" fmla="*/ 1994631 h 2344739"/>
              <a:gd name="connsiteX93" fmla="*/ 8284298 w 12193149"/>
              <a:gd name="connsiteY93" fmla="*/ 1999074 h 2344739"/>
              <a:gd name="connsiteX94" fmla="*/ 8267224 w 12193149"/>
              <a:gd name="connsiteY94" fmla="*/ 2006249 h 2344739"/>
              <a:gd name="connsiteX95" fmla="*/ 8264525 w 12193149"/>
              <a:gd name="connsiteY95" fmla="*/ 2006019 h 2344739"/>
              <a:gd name="connsiteX96" fmla="*/ 8253181 w 12193149"/>
              <a:gd name="connsiteY96" fmla="*/ 2015862 h 2344739"/>
              <a:gd name="connsiteX97" fmla="*/ 8246982 w 12193149"/>
              <a:gd name="connsiteY97" fmla="*/ 2028854 h 2344739"/>
              <a:gd name="connsiteX98" fmla="*/ 8091420 w 12193149"/>
              <a:gd name="connsiteY98" fmla="*/ 2075015 h 2344739"/>
              <a:gd name="connsiteX99" fmla="*/ 7906555 w 12193149"/>
              <a:gd name="connsiteY99" fmla="*/ 2116988 h 2344739"/>
              <a:gd name="connsiteX100" fmla="*/ 7719893 w 12193149"/>
              <a:gd name="connsiteY100" fmla="*/ 2142703 h 2344739"/>
              <a:gd name="connsiteX101" fmla="*/ 7615495 w 12193149"/>
              <a:gd name="connsiteY101" fmla="*/ 2139232 h 2344739"/>
              <a:gd name="connsiteX102" fmla="*/ 7528691 w 12193149"/>
              <a:gd name="connsiteY102" fmla="*/ 2145060 h 2344739"/>
              <a:gd name="connsiteX103" fmla="*/ 7520719 w 12193149"/>
              <a:gd name="connsiteY103" fmla="*/ 2147613 h 2344739"/>
              <a:gd name="connsiteX104" fmla="*/ 7508559 w 12193149"/>
              <a:gd name="connsiteY104" fmla="*/ 2148948 h 2344739"/>
              <a:gd name="connsiteX105" fmla="*/ 7508188 w 12193149"/>
              <a:gd name="connsiteY105" fmla="*/ 2148621 h 2344739"/>
              <a:gd name="connsiteX106" fmla="*/ 7496943 w 12193149"/>
              <a:gd name="connsiteY106" fmla="*/ 2150573 h 2344739"/>
              <a:gd name="connsiteX107" fmla="*/ 7406539 w 12193149"/>
              <a:gd name="connsiteY107" fmla="*/ 2142468 h 2344739"/>
              <a:gd name="connsiteX108" fmla="*/ 7219707 w 12193149"/>
              <a:gd name="connsiteY108" fmla="*/ 2156680 h 2344739"/>
              <a:gd name="connsiteX109" fmla="*/ 7202249 w 12193149"/>
              <a:gd name="connsiteY109" fmla="*/ 2161230 h 2344739"/>
              <a:gd name="connsiteX110" fmla="*/ 7198152 w 12193149"/>
              <a:gd name="connsiteY110" fmla="*/ 2166588 h 2344739"/>
              <a:gd name="connsiteX111" fmla="*/ 7171956 w 12193149"/>
              <a:gd name="connsiteY111" fmla="*/ 2171236 h 2344739"/>
              <a:gd name="connsiteX112" fmla="*/ 7098136 w 12193149"/>
              <a:gd name="connsiteY112" fmla="*/ 2183464 h 2344739"/>
              <a:gd name="connsiteX113" fmla="*/ 7019644 w 12193149"/>
              <a:gd name="connsiteY113" fmla="*/ 2183090 h 2344739"/>
              <a:gd name="connsiteX114" fmla="*/ 6905294 w 12193149"/>
              <a:gd name="connsiteY114" fmla="*/ 2212596 h 2344739"/>
              <a:gd name="connsiteX115" fmla="*/ 6709370 w 12193149"/>
              <a:gd name="connsiteY115" fmla="*/ 2240551 h 2344739"/>
              <a:gd name="connsiteX116" fmla="*/ 6550602 w 12193149"/>
              <a:gd name="connsiteY116" fmla="*/ 2269327 h 2344739"/>
              <a:gd name="connsiteX117" fmla="*/ 6318708 w 12193149"/>
              <a:gd name="connsiteY117" fmla="*/ 2316127 h 2344739"/>
              <a:gd name="connsiteX118" fmla="*/ 6169822 w 12193149"/>
              <a:gd name="connsiteY118" fmla="*/ 2318214 h 2344739"/>
              <a:gd name="connsiteX119" fmla="*/ 6074996 w 12193149"/>
              <a:gd name="connsiteY119" fmla="*/ 2338676 h 2344739"/>
              <a:gd name="connsiteX120" fmla="*/ 6069677 w 12193149"/>
              <a:gd name="connsiteY120" fmla="*/ 2337139 h 2344739"/>
              <a:gd name="connsiteX121" fmla="*/ 6049786 w 12193149"/>
              <a:gd name="connsiteY121" fmla="*/ 2337822 h 2344739"/>
              <a:gd name="connsiteX122" fmla="*/ 6042433 w 12193149"/>
              <a:gd name="connsiteY122" fmla="*/ 2329473 h 2344739"/>
              <a:gd name="connsiteX123" fmla="*/ 6011238 w 12193149"/>
              <a:gd name="connsiteY123" fmla="*/ 2324380 h 2344739"/>
              <a:gd name="connsiteX124" fmla="*/ 5958523 w 12193149"/>
              <a:gd name="connsiteY124" fmla="*/ 2328024 h 2344739"/>
              <a:gd name="connsiteX125" fmla="*/ 5760067 w 12193149"/>
              <a:gd name="connsiteY125" fmla="*/ 2343716 h 2344739"/>
              <a:gd name="connsiteX126" fmla="*/ 5628108 w 12193149"/>
              <a:gd name="connsiteY126" fmla="*/ 2344739 h 2344739"/>
              <a:gd name="connsiteX127" fmla="*/ 5472054 w 12193149"/>
              <a:gd name="connsiteY127" fmla="*/ 2330719 h 2344739"/>
              <a:gd name="connsiteX128" fmla="*/ 5433909 w 12193149"/>
              <a:gd name="connsiteY128" fmla="*/ 2319466 h 2344739"/>
              <a:gd name="connsiteX129" fmla="*/ 5382817 w 12193149"/>
              <a:gd name="connsiteY129" fmla="*/ 2301764 h 2344739"/>
              <a:gd name="connsiteX130" fmla="*/ 5262912 w 12193149"/>
              <a:gd name="connsiteY130" fmla="*/ 2281347 h 2344739"/>
              <a:gd name="connsiteX131" fmla="*/ 5224109 w 12193149"/>
              <a:gd name="connsiteY131" fmla="*/ 2270223 h 2344739"/>
              <a:gd name="connsiteX132" fmla="*/ 5175808 w 12193149"/>
              <a:gd name="connsiteY132" fmla="*/ 2267233 h 2344739"/>
              <a:gd name="connsiteX133" fmla="*/ 5157702 w 12193149"/>
              <a:gd name="connsiteY133" fmla="*/ 2260010 h 2344739"/>
              <a:gd name="connsiteX134" fmla="*/ 5143747 w 12193149"/>
              <a:gd name="connsiteY134" fmla="*/ 2256610 h 2344739"/>
              <a:gd name="connsiteX135" fmla="*/ 5140744 w 12193149"/>
              <a:gd name="connsiteY135" fmla="*/ 2254509 h 2344739"/>
              <a:gd name="connsiteX136" fmla="*/ 5122807 w 12193149"/>
              <a:gd name="connsiteY136" fmla="*/ 2243656 h 2344739"/>
              <a:gd name="connsiteX137" fmla="*/ 5066938 w 12193149"/>
              <a:gd name="connsiteY137" fmla="*/ 2250227 h 2344739"/>
              <a:gd name="connsiteX138" fmla="*/ 5012662 w 12193149"/>
              <a:gd name="connsiteY138" fmla="*/ 2233846 h 2344739"/>
              <a:gd name="connsiteX139" fmla="*/ 4841589 w 12193149"/>
              <a:gd name="connsiteY139" fmla="*/ 2209829 h 2344739"/>
              <a:gd name="connsiteX140" fmla="*/ 4763595 w 12193149"/>
              <a:gd name="connsiteY140" fmla="*/ 2182061 h 2344739"/>
              <a:gd name="connsiteX141" fmla="*/ 4724334 w 12193149"/>
              <a:gd name="connsiteY141" fmla="*/ 2173047 h 2344739"/>
              <a:gd name="connsiteX142" fmla="*/ 4722324 w 12193149"/>
              <a:gd name="connsiteY142" fmla="*/ 2172298 h 2344739"/>
              <a:gd name="connsiteX143" fmla="*/ 4723259 w 12193149"/>
              <a:gd name="connsiteY143" fmla="*/ 2172087 h 2344739"/>
              <a:gd name="connsiteX144" fmla="*/ 4718350 w 12193149"/>
              <a:gd name="connsiteY144" fmla="*/ 2170817 h 2344739"/>
              <a:gd name="connsiteX145" fmla="*/ 4722324 w 12193149"/>
              <a:gd name="connsiteY145" fmla="*/ 2172298 h 2344739"/>
              <a:gd name="connsiteX146" fmla="*/ 4716674 w 12193149"/>
              <a:gd name="connsiteY146" fmla="*/ 2173573 h 2344739"/>
              <a:gd name="connsiteX147" fmla="*/ 4516962 w 12193149"/>
              <a:gd name="connsiteY147" fmla="*/ 2163671 h 2344739"/>
              <a:gd name="connsiteX148" fmla="*/ 4429691 w 12193149"/>
              <a:gd name="connsiteY148" fmla="*/ 2153020 h 2344739"/>
              <a:gd name="connsiteX149" fmla="*/ 4364023 w 12193149"/>
              <a:gd name="connsiteY149" fmla="*/ 2151674 h 2344739"/>
              <a:gd name="connsiteX150" fmla="*/ 4318114 w 12193149"/>
              <a:gd name="connsiteY150" fmla="*/ 2158289 h 2344739"/>
              <a:gd name="connsiteX151" fmla="*/ 4316258 w 12193149"/>
              <a:gd name="connsiteY151" fmla="*/ 2156948 h 2344739"/>
              <a:gd name="connsiteX152" fmla="*/ 4296292 w 12193149"/>
              <a:gd name="connsiteY152" fmla="*/ 2155069 h 2344739"/>
              <a:gd name="connsiteX153" fmla="*/ 4291212 w 12193149"/>
              <a:gd name="connsiteY153" fmla="*/ 2157986 h 2344739"/>
              <a:gd name="connsiteX154" fmla="*/ 4277290 w 12193149"/>
              <a:gd name="connsiteY154" fmla="*/ 2157740 h 2344739"/>
              <a:gd name="connsiteX155" fmla="*/ 4249265 w 12193149"/>
              <a:gd name="connsiteY155" fmla="*/ 2160064 h 2344739"/>
              <a:gd name="connsiteX156" fmla="*/ 4203199 w 12193149"/>
              <a:gd name="connsiteY156" fmla="*/ 2157269 h 2344739"/>
              <a:gd name="connsiteX157" fmla="*/ 4202893 w 12193149"/>
              <a:gd name="connsiteY157" fmla="*/ 2156010 h 2344739"/>
              <a:gd name="connsiteX158" fmla="*/ 4192396 w 12193149"/>
              <a:gd name="connsiteY158" fmla="*/ 2150376 h 2344739"/>
              <a:gd name="connsiteX159" fmla="*/ 4143893 w 12193149"/>
              <a:gd name="connsiteY159" fmla="*/ 2134511 h 2344739"/>
              <a:gd name="connsiteX160" fmla="*/ 4084245 w 12193149"/>
              <a:gd name="connsiteY160" fmla="*/ 2107978 h 2344739"/>
              <a:gd name="connsiteX161" fmla="*/ 4075694 w 12193149"/>
              <a:gd name="connsiteY161" fmla="*/ 2107143 h 2344739"/>
              <a:gd name="connsiteX162" fmla="*/ 4075575 w 12193149"/>
              <a:gd name="connsiteY162" fmla="*/ 2106844 h 2344739"/>
              <a:gd name="connsiteX163" fmla="*/ 4066658 w 12193149"/>
              <a:gd name="connsiteY163" fmla="*/ 2105400 h 2344739"/>
              <a:gd name="connsiteX164" fmla="*/ 4060102 w 12193149"/>
              <a:gd name="connsiteY164" fmla="*/ 2105618 h 2344739"/>
              <a:gd name="connsiteX165" fmla="*/ 4043512 w 12193149"/>
              <a:gd name="connsiteY165" fmla="*/ 2103997 h 2344739"/>
              <a:gd name="connsiteX166" fmla="*/ 4038145 w 12193149"/>
              <a:gd name="connsiteY166" fmla="*/ 2101563 h 2344739"/>
              <a:gd name="connsiteX167" fmla="*/ 4036511 w 12193149"/>
              <a:gd name="connsiteY167" fmla="*/ 2097896 h 2344739"/>
              <a:gd name="connsiteX168" fmla="*/ 4034926 w 12193149"/>
              <a:gd name="connsiteY168" fmla="*/ 2098131 h 2344739"/>
              <a:gd name="connsiteX169" fmla="*/ 4005686 w 12193149"/>
              <a:gd name="connsiteY169" fmla="*/ 2085563 h 2344739"/>
              <a:gd name="connsiteX170" fmla="*/ 3937994 w 12193149"/>
              <a:gd name="connsiteY170" fmla="*/ 2068106 h 2344739"/>
              <a:gd name="connsiteX171" fmla="*/ 3898423 w 12193149"/>
              <a:gd name="connsiteY171" fmla="*/ 2062451 h 2344739"/>
              <a:gd name="connsiteX172" fmla="*/ 3790908 w 12193149"/>
              <a:gd name="connsiteY172" fmla="*/ 2042213 h 2344739"/>
              <a:gd name="connsiteX173" fmla="*/ 3683661 w 12193149"/>
              <a:gd name="connsiteY173" fmla="*/ 2018290 h 2344739"/>
              <a:gd name="connsiteX174" fmla="*/ 3611183 w 12193149"/>
              <a:gd name="connsiteY174" fmla="*/ 1986019 h 2344739"/>
              <a:gd name="connsiteX175" fmla="*/ 3605003 w 12193149"/>
              <a:gd name="connsiteY175" fmla="*/ 1987381 h 2344739"/>
              <a:gd name="connsiteX176" fmla="*/ 3595884 w 12193149"/>
              <a:gd name="connsiteY176" fmla="*/ 1987545 h 2344739"/>
              <a:gd name="connsiteX177" fmla="*/ 3595649 w 12193149"/>
              <a:gd name="connsiteY177" fmla="*/ 1987276 h 2344739"/>
              <a:gd name="connsiteX178" fmla="*/ 3587126 w 12193149"/>
              <a:gd name="connsiteY178" fmla="*/ 1987966 h 2344739"/>
              <a:gd name="connsiteX179" fmla="*/ 3537283 w 12193149"/>
              <a:gd name="connsiteY179" fmla="*/ 1978267 h 2344739"/>
              <a:gd name="connsiteX180" fmla="*/ 3474371 w 12193149"/>
              <a:gd name="connsiteY180" fmla="*/ 1974606 h 2344739"/>
              <a:gd name="connsiteX181" fmla="*/ 3401876 w 12193149"/>
              <a:gd name="connsiteY181" fmla="*/ 1962558 h 2344739"/>
              <a:gd name="connsiteX182" fmla="*/ 3365036 w 12193149"/>
              <a:gd name="connsiteY182" fmla="*/ 1979510 h 2344739"/>
              <a:gd name="connsiteX183" fmla="*/ 3345174 w 12193149"/>
              <a:gd name="connsiteY183" fmla="*/ 1981192 h 2344739"/>
              <a:gd name="connsiteX184" fmla="*/ 3342846 w 12193149"/>
              <a:gd name="connsiteY184" fmla="*/ 1980217 h 2344739"/>
              <a:gd name="connsiteX185" fmla="*/ 3263504 w 12193149"/>
              <a:gd name="connsiteY185" fmla="*/ 1986094 h 2344739"/>
              <a:gd name="connsiteX186" fmla="*/ 3143704 w 12193149"/>
              <a:gd name="connsiteY186" fmla="*/ 1993869 h 2344739"/>
              <a:gd name="connsiteX187" fmla="*/ 3031439 w 12193149"/>
              <a:gd name="connsiteY187" fmla="*/ 1996512 h 2344739"/>
              <a:gd name="connsiteX188" fmla="*/ 2782717 w 12193149"/>
              <a:gd name="connsiteY188" fmla="*/ 2018333 h 2344739"/>
              <a:gd name="connsiteX189" fmla="*/ 2647675 w 12193149"/>
              <a:gd name="connsiteY189" fmla="*/ 2028869 h 2344739"/>
              <a:gd name="connsiteX190" fmla="*/ 2569176 w 12193149"/>
              <a:gd name="connsiteY190" fmla="*/ 2002628 h 2344739"/>
              <a:gd name="connsiteX191" fmla="*/ 2444403 w 12193149"/>
              <a:gd name="connsiteY191" fmla="*/ 2016529 h 2344739"/>
              <a:gd name="connsiteX192" fmla="*/ 2316260 w 12193149"/>
              <a:gd name="connsiteY192" fmla="*/ 2024996 h 2344739"/>
              <a:gd name="connsiteX193" fmla="*/ 2209726 w 12193149"/>
              <a:gd name="connsiteY193" fmla="*/ 2019763 h 2344739"/>
              <a:gd name="connsiteX194" fmla="*/ 2095813 w 12193149"/>
              <a:gd name="connsiteY194" fmla="*/ 2003052 h 2344739"/>
              <a:gd name="connsiteX195" fmla="*/ 1998504 w 12193149"/>
              <a:gd name="connsiteY195" fmla="*/ 1995032 h 2344739"/>
              <a:gd name="connsiteX196" fmla="*/ 1929320 w 12193149"/>
              <a:gd name="connsiteY196" fmla="*/ 2016977 h 2344739"/>
              <a:gd name="connsiteX197" fmla="*/ 1922798 w 12193149"/>
              <a:gd name="connsiteY197" fmla="*/ 2012146 h 2344739"/>
              <a:gd name="connsiteX198" fmla="*/ 1874228 w 12193149"/>
              <a:gd name="connsiteY198" fmla="*/ 2013741 h 2344739"/>
              <a:gd name="connsiteX199" fmla="*/ 1787803 w 12193149"/>
              <a:gd name="connsiteY199" fmla="*/ 2041363 h 2344739"/>
              <a:gd name="connsiteX200" fmla="*/ 1739352 w 12193149"/>
              <a:gd name="connsiteY200" fmla="*/ 2036312 h 2344739"/>
              <a:gd name="connsiteX201" fmla="*/ 1676219 w 12193149"/>
              <a:gd name="connsiteY201" fmla="*/ 2019963 h 2344739"/>
              <a:gd name="connsiteX202" fmla="*/ 1609817 w 12193149"/>
              <a:gd name="connsiteY202" fmla="*/ 2013066 h 2344739"/>
              <a:gd name="connsiteX203" fmla="*/ 1497258 w 12193149"/>
              <a:gd name="connsiteY203" fmla="*/ 1987476 h 2344739"/>
              <a:gd name="connsiteX204" fmla="*/ 1151127 w 12193149"/>
              <a:gd name="connsiteY204" fmla="*/ 1938041 h 2344739"/>
              <a:gd name="connsiteX205" fmla="*/ 859417 w 12193149"/>
              <a:gd name="connsiteY205" fmla="*/ 1928608 h 2344739"/>
              <a:gd name="connsiteX206" fmla="*/ 838688 w 12193149"/>
              <a:gd name="connsiteY206" fmla="*/ 1929821 h 2344739"/>
              <a:gd name="connsiteX207" fmla="*/ 817957 w 12193149"/>
              <a:gd name="connsiteY207" fmla="*/ 1927857 h 2344739"/>
              <a:gd name="connsiteX208" fmla="*/ 812654 w 12193149"/>
              <a:gd name="connsiteY208" fmla="*/ 1930751 h 2344739"/>
              <a:gd name="connsiteX209" fmla="*/ 721195 w 12193149"/>
              <a:gd name="connsiteY209" fmla="*/ 1929661 h 2344739"/>
              <a:gd name="connsiteX210" fmla="*/ 720890 w 12193149"/>
              <a:gd name="connsiteY210" fmla="*/ 1928399 h 2344739"/>
              <a:gd name="connsiteX211" fmla="*/ 710023 w 12193149"/>
              <a:gd name="connsiteY211" fmla="*/ 1922722 h 2344739"/>
              <a:gd name="connsiteX212" fmla="*/ 597940 w 12193149"/>
              <a:gd name="connsiteY212" fmla="*/ 1879864 h 2344739"/>
              <a:gd name="connsiteX213" fmla="*/ 579683 w 12193149"/>
              <a:gd name="connsiteY213" fmla="*/ 1877212 h 2344739"/>
              <a:gd name="connsiteX214" fmla="*/ 572865 w 12193149"/>
              <a:gd name="connsiteY214" fmla="*/ 1877401 h 2344739"/>
              <a:gd name="connsiteX215" fmla="*/ 446247 w 12193149"/>
              <a:gd name="connsiteY215" fmla="*/ 1839371 h 2344739"/>
              <a:gd name="connsiteX216" fmla="*/ 405163 w 12193149"/>
              <a:gd name="connsiteY216" fmla="*/ 1833548 h 2344739"/>
              <a:gd name="connsiteX217" fmla="*/ 293583 w 12193149"/>
              <a:gd name="connsiteY217" fmla="*/ 1812852 h 2344739"/>
              <a:gd name="connsiteX218" fmla="*/ 119529 w 12193149"/>
              <a:gd name="connsiteY218" fmla="*/ 1761047 h 2344739"/>
              <a:gd name="connsiteX219" fmla="*/ 16674 w 12193149"/>
              <a:gd name="connsiteY219" fmla="*/ 1758191 h 2344739"/>
              <a:gd name="connsiteX220" fmla="*/ 1150 w 12193149"/>
              <a:gd name="connsiteY220" fmla="*/ 1752722 h 2344739"/>
              <a:gd name="connsiteX221" fmla="*/ 1148 w 12193149"/>
              <a:gd name="connsiteY221" fmla="*/ 222213 h 2344739"/>
              <a:gd name="connsiteX222" fmla="*/ 1148 w 12193149"/>
              <a:gd name="connsiteY222"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749767 w 12193149"/>
              <a:gd name="connsiteY23" fmla="*/ 872002 h 2344739"/>
              <a:gd name="connsiteX24" fmla="*/ 11590693 w 12193149"/>
              <a:gd name="connsiteY24" fmla="*/ 963777 h 2344739"/>
              <a:gd name="connsiteX25" fmla="*/ 11506817 w 12193149"/>
              <a:gd name="connsiteY25" fmla="*/ 1033623 h 2344739"/>
              <a:gd name="connsiteX26" fmla="*/ 11280332 w 12193149"/>
              <a:gd name="connsiteY26" fmla="*/ 1223571 h 2344739"/>
              <a:gd name="connsiteX27" fmla="*/ 11228309 w 12193149"/>
              <a:gd name="connsiteY27" fmla="*/ 1276236 h 2344739"/>
              <a:gd name="connsiteX28" fmla="*/ 11218087 w 12193149"/>
              <a:gd name="connsiteY28" fmla="*/ 1275961 h 2344739"/>
              <a:gd name="connsiteX29" fmla="*/ 11217184 w 12193149"/>
              <a:gd name="connsiteY29" fmla="*/ 1275018 h 2344739"/>
              <a:gd name="connsiteX30" fmla="*/ 11188885 w 12193149"/>
              <a:gd name="connsiteY30" fmla="*/ 1292383 h 2344739"/>
              <a:gd name="connsiteX31" fmla="*/ 11184501 w 12193149"/>
              <a:gd name="connsiteY31" fmla="*/ 1292525 h 2344739"/>
              <a:gd name="connsiteX32" fmla="*/ 11166854 w 12193149"/>
              <a:gd name="connsiteY32" fmla="*/ 1306612 h 2344739"/>
              <a:gd name="connsiteX33" fmla="*/ 11157311 w 12193149"/>
              <a:gd name="connsiteY33" fmla="*/ 1312414 h 2344739"/>
              <a:gd name="connsiteX34" fmla="*/ 11155496 w 12193149"/>
              <a:gd name="connsiteY34" fmla="*/ 1317097 h 2344739"/>
              <a:gd name="connsiteX35" fmla="*/ 11140961 w 12193149"/>
              <a:gd name="connsiteY35" fmla="*/ 1324115 h 2344739"/>
              <a:gd name="connsiteX36" fmla="*/ 11138961 w 12193149"/>
              <a:gd name="connsiteY36" fmla="*/ 1323772 h 2344739"/>
              <a:gd name="connsiteX37" fmla="*/ 11128208 w 12193149"/>
              <a:gd name="connsiteY37" fmla="*/ 1333832 h 2344739"/>
              <a:gd name="connsiteX38" fmla="*/ 11120691 w 12193149"/>
              <a:gd name="connsiteY38" fmla="*/ 1347424 h 2344739"/>
              <a:gd name="connsiteX39" fmla="*/ 10894683 w 12193149"/>
              <a:gd name="connsiteY39" fmla="*/ 1473399 h 2344739"/>
              <a:gd name="connsiteX40" fmla="*/ 10773300 w 12193149"/>
              <a:gd name="connsiteY40" fmla="*/ 1523191 h 2344739"/>
              <a:gd name="connsiteX41" fmla="*/ 10627668 w 12193149"/>
              <a:gd name="connsiteY41" fmla="*/ 1559229 h 2344739"/>
              <a:gd name="connsiteX42" fmla="*/ 10581895 w 12193149"/>
              <a:gd name="connsiteY42" fmla="*/ 1568689 h 2344739"/>
              <a:gd name="connsiteX43" fmla="*/ 10547790 w 12193149"/>
              <a:gd name="connsiteY43" fmla="*/ 1598423 h 2344739"/>
              <a:gd name="connsiteX44" fmla="*/ 10529643 w 12193149"/>
              <a:gd name="connsiteY44" fmla="*/ 1596907 h 2344739"/>
              <a:gd name="connsiteX45" fmla="*/ 10526446 w 12193149"/>
              <a:gd name="connsiteY45" fmla="*/ 1596411 h 2344739"/>
              <a:gd name="connsiteX46" fmla="*/ 10515129 w 12193149"/>
              <a:gd name="connsiteY46" fmla="*/ 1599537 h 2344739"/>
              <a:gd name="connsiteX47" fmla="*/ 10491735 w 12193149"/>
              <a:gd name="connsiteY47" fmla="*/ 1594156 h 2344739"/>
              <a:gd name="connsiteX48" fmla="*/ 10471418 w 12193149"/>
              <a:gd name="connsiteY48" fmla="*/ 1601693 h 2344739"/>
              <a:gd name="connsiteX49" fmla="*/ 10377042 w 12193149"/>
              <a:gd name="connsiteY49" fmla="*/ 1644598 h 2344739"/>
              <a:gd name="connsiteX50" fmla="*/ 10319338 w 12193149"/>
              <a:gd name="connsiteY50" fmla="*/ 1666221 h 2344739"/>
              <a:gd name="connsiteX51" fmla="*/ 10295467 w 12193149"/>
              <a:gd name="connsiteY51" fmla="*/ 1668079 h 2344739"/>
              <a:gd name="connsiteX52" fmla="*/ 10263443 w 12193149"/>
              <a:gd name="connsiteY52" fmla="*/ 1674948 h 2344739"/>
              <a:gd name="connsiteX53" fmla="*/ 10205418 w 12193149"/>
              <a:gd name="connsiteY53" fmla="*/ 1682149 h 2344739"/>
              <a:gd name="connsiteX54" fmla="*/ 10177759 w 12193149"/>
              <a:gd name="connsiteY54" fmla="*/ 1692943 h 2344739"/>
              <a:gd name="connsiteX55" fmla="*/ 10165070 w 12193149"/>
              <a:gd name="connsiteY55" fmla="*/ 1693739 h 2344739"/>
              <a:gd name="connsiteX56" fmla="*/ 10156308 w 12193149"/>
              <a:gd name="connsiteY56" fmla="*/ 1707487 h 2344739"/>
              <a:gd name="connsiteX57" fmla="*/ 10118267 w 12193149"/>
              <a:gd name="connsiteY57" fmla="*/ 1731142 h 2344739"/>
              <a:gd name="connsiteX58" fmla="*/ 10101593 w 12193149"/>
              <a:gd name="connsiteY58" fmla="*/ 1742432 h 2344739"/>
              <a:gd name="connsiteX59" fmla="*/ 10083317 w 12193149"/>
              <a:gd name="connsiteY59" fmla="*/ 1743296 h 2344739"/>
              <a:gd name="connsiteX60" fmla="*/ 10040388 w 12193149"/>
              <a:gd name="connsiteY60" fmla="*/ 1741632 h 2344739"/>
              <a:gd name="connsiteX61" fmla="*/ 9961167 w 12193149"/>
              <a:gd name="connsiteY61" fmla="*/ 1757147 h 2344739"/>
              <a:gd name="connsiteX62" fmla="*/ 9848940 w 12193149"/>
              <a:gd name="connsiteY62" fmla="*/ 1763915 h 2344739"/>
              <a:gd name="connsiteX63" fmla="*/ 9729457 w 12193149"/>
              <a:gd name="connsiteY63" fmla="*/ 1784122 h 2344739"/>
              <a:gd name="connsiteX64" fmla="*/ 9585655 w 12193149"/>
              <a:gd name="connsiteY64" fmla="*/ 1795542 h 2344739"/>
              <a:gd name="connsiteX65" fmla="*/ 9344200 w 12193149"/>
              <a:gd name="connsiteY65" fmla="*/ 1841244 h 2344739"/>
              <a:gd name="connsiteX66" fmla="*/ 9232518 w 12193149"/>
              <a:gd name="connsiteY66" fmla="*/ 1893149 h 2344739"/>
              <a:gd name="connsiteX67" fmla="*/ 9195958 w 12193149"/>
              <a:gd name="connsiteY67" fmla="*/ 1903228 h 2344739"/>
              <a:gd name="connsiteX68" fmla="*/ 9054601 w 12193149"/>
              <a:gd name="connsiteY68" fmla="*/ 1910755 h 2344739"/>
              <a:gd name="connsiteX69" fmla="*/ 9006634 w 12193149"/>
              <a:gd name="connsiteY69" fmla="*/ 1914040 h 2344739"/>
              <a:gd name="connsiteX70" fmla="*/ 9006349 w 12193149"/>
              <a:gd name="connsiteY70" fmla="*/ 1913800 h 2344739"/>
              <a:gd name="connsiteX71" fmla="*/ 8997380 w 12193149"/>
              <a:gd name="connsiteY71" fmla="*/ 1915011 h 2344739"/>
              <a:gd name="connsiteX72" fmla="*/ 8991542 w 12193149"/>
              <a:gd name="connsiteY72" fmla="*/ 1917072 h 2344739"/>
              <a:gd name="connsiteX73" fmla="*/ 8975485 w 12193149"/>
              <a:gd name="connsiteY73" fmla="*/ 1920298 h 2344739"/>
              <a:gd name="connsiteX74" fmla="*/ 8969159 w 12193149"/>
              <a:gd name="connsiteY74" fmla="*/ 1919598 h 2344739"/>
              <a:gd name="connsiteX75" fmla="*/ 8964196 w 12193149"/>
              <a:gd name="connsiteY75" fmla="*/ 1917373 h 2344739"/>
              <a:gd name="connsiteX76" fmla="*/ 8930136 w 12193149"/>
              <a:gd name="connsiteY76" fmla="*/ 1914185 h 2344739"/>
              <a:gd name="connsiteX77" fmla="*/ 8753592 w 12193149"/>
              <a:gd name="connsiteY77" fmla="*/ 1933417 h 2344739"/>
              <a:gd name="connsiteX78" fmla="*/ 8708995 w 12193149"/>
              <a:gd name="connsiteY78" fmla="*/ 1935518 h 2344739"/>
              <a:gd name="connsiteX79" fmla="*/ 8597219 w 12193149"/>
              <a:gd name="connsiteY79" fmla="*/ 1944090 h 2344739"/>
              <a:gd name="connsiteX80" fmla="*/ 8526378 w 12193149"/>
              <a:gd name="connsiteY80" fmla="*/ 1929248 h 2344739"/>
              <a:gd name="connsiteX81" fmla="*/ 8512131 w 12193149"/>
              <a:gd name="connsiteY81" fmla="*/ 1935163 h 2344739"/>
              <a:gd name="connsiteX82" fmla="*/ 8507315 w 12193149"/>
              <a:gd name="connsiteY82" fmla="*/ 1938164 h 2344739"/>
              <a:gd name="connsiteX83" fmla="*/ 8499116 w 12193149"/>
              <a:gd name="connsiteY83" fmla="*/ 1940902 h 2344739"/>
              <a:gd name="connsiteX84" fmla="*/ 8498742 w 12193149"/>
              <a:gd name="connsiteY84" fmla="*/ 1940723 h 2344739"/>
              <a:gd name="connsiteX85" fmla="*/ 8491397 w 12193149"/>
              <a:gd name="connsiteY85" fmla="*/ 1943773 h 2344739"/>
              <a:gd name="connsiteX86" fmla="*/ 8368330 w 12193149"/>
              <a:gd name="connsiteY86" fmla="*/ 1957815 h 2344739"/>
              <a:gd name="connsiteX87" fmla="*/ 8354947 w 12193149"/>
              <a:gd name="connsiteY87" fmla="*/ 1958009 h 2344739"/>
              <a:gd name="connsiteX88" fmla="*/ 8321252 w 12193149"/>
              <a:gd name="connsiteY88" fmla="*/ 1974587 h 2344739"/>
              <a:gd name="connsiteX89" fmla="*/ 8315581 w 12193149"/>
              <a:gd name="connsiteY89" fmla="*/ 1974913 h 2344739"/>
              <a:gd name="connsiteX90" fmla="*/ 8296322 w 12193149"/>
              <a:gd name="connsiteY90" fmla="*/ 1988808 h 2344739"/>
              <a:gd name="connsiteX91" fmla="*/ 8285424 w 12193149"/>
              <a:gd name="connsiteY91" fmla="*/ 1994631 h 2344739"/>
              <a:gd name="connsiteX92" fmla="*/ 8284298 w 12193149"/>
              <a:gd name="connsiteY92" fmla="*/ 1999074 h 2344739"/>
              <a:gd name="connsiteX93" fmla="*/ 8267224 w 12193149"/>
              <a:gd name="connsiteY93" fmla="*/ 2006249 h 2344739"/>
              <a:gd name="connsiteX94" fmla="*/ 8264525 w 12193149"/>
              <a:gd name="connsiteY94" fmla="*/ 2006019 h 2344739"/>
              <a:gd name="connsiteX95" fmla="*/ 8253181 w 12193149"/>
              <a:gd name="connsiteY95" fmla="*/ 2015862 h 2344739"/>
              <a:gd name="connsiteX96" fmla="*/ 8246982 w 12193149"/>
              <a:gd name="connsiteY96" fmla="*/ 2028854 h 2344739"/>
              <a:gd name="connsiteX97" fmla="*/ 8091420 w 12193149"/>
              <a:gd name="connsiteY97" fmla="*/ 2075015 h 2344739"/>
              <a:gd name="connsiteX98" fmla="*/ 7906555 w 12193149"/>
              <a:gd name="connsiteY98" fmla="*/ 2116988 h 2344739"/>
              <a:gd name="connsiteX99" fmla="*/ 7719893 w 12193149"/>
              <a:gd name="connsiteY99" fmla="*/ 2142703 h 2344739"/>
              <a:gd name="connsiteX100" fmla="*/ 7615495 w 12193149"/>
              <a:gd name="connsiteY100" fmla="*/ 2139232 h 2344739"/>
              <a:gd name="connsiteX101" fmla="*/ 7528691 w 12193149"/>
              <a:gd name="connsiteY101" fmla="*/ 2145060 h 2344739"/>
              <a:gd name="connsiteX102" fmla="*/ 7520719 w 12193149"/>
              <a:gd name="connsiteY102" fmla="*/ 2147613 h 2344739"/>
              <a:gd name="connsiteX103" fmla="*/ 7508559 w 12193149"/>
              <a:gd name="connsiteY103" fmla="*/ 2148948 h 2344739"/>
              <a:gd name="connsiteX104" fmla="*/ 7508188 w 12193149"/>
              <a:gd name="connsiteY104" fmla="*/ 2148621 h 2344739"/>
              <a:gd name="connsiteX105" fmla="*/ 7496943 w 12193149"/>
              <a:gd name="connsiteY105" fmla="*/ 2150573 h 2344739"/>
              <a:gd name="connsiteX106" fmla="*/ 7406539 w 12193149"/>
              <a:gd name="connsiteY106" fmla="*/ 2142468 h 2344739"/>
              <a:gd name="connsiteX107" fmla="*/ 7219707 w 12193149"/>
              <a:gd name="connsiteY107" fmla="*/ 2156680 h 2344739"/>
              <a:gd name="connsiteX108" fmla="*/ 7202249 w 12193149"/>
              <a:gd name="connsiteY108" fmla="*/ 2161230 h 2344739"/>
              <a:gd name="connsiteX109" fmla="*/ 7198152 w 12193149"/>
              <a:gd name="connsiteY109" fmla="*/ 2166588 h 2344739"/>
              <a:gd name="connsiteX110" fmla="*/ 7171956 w 12193149"/>
              <a:gd name="connsiteY110" fmla="*/ 2171236 h 2344739"/>
              <a:gd name="connsiteX111" fmla="*/ 7098136 w 12193149"/>
              <a:gd name="connsiteY111" fmla="*/ 2183464 h 2344739"/>
              <a:gd name="connsiteX112" fmla="*/ 7019644 w 12193149"/>
              <a:gd name="connsiteY112" fmla="*/ 2183090 h 2344739"/>
              <a:gd name="connsiteX113" fmla="*/ 6905294 w 12193149"/>
              <a:gd name="connsiteY113" fmla="*/ 2212596 h 2344739"/>
              <a:gd name="connsiteX114" fmla="*/ 6709370 w 12193149"/>
              <a:gd name="connsiteY114" fmla="*/ 2240551 h 2344739"/>
              <a:gd name="connsiteX115" fmla="*/ 6550602 w 12193149"/>
              <a:gd name="connsiteY115" fmla="*/ 2269327 h 2344739"/>
              <a:gd name="connsiteX116" fmla="*/ 6318708 w 12193149"/>
              <a:gd name="connsiteY116" fmla="*/ 2316127 h 2344739"/>
              <a:gd name="connsiteX117" fmla="*/ 6169822 w 12193149"/>
              <a:gd name="connsiteY117" fmla="*/ 2318214 h 2344739"/>
              <a:gd name="connsiteX118" fmla="*/ 6074996 w 12193149"/>
              <a:gd name="connsiteY118" fmla="*/ 2338676 h 2344739"/>
              <a:gd name="connsiteX119" fmla="*/ 6069677 w 12193149"/>
              <a:gd name="connsiteY119" fmla="*/ 2337139 h 2344739"/>
              <a:gd name="connsiteX120" fmla="*/ 6049786 w 12193149"/>
              <a:gd name="connsiteY120" fmla="*/ 2337822 h 2344739"/>
              <a:gd name="connsiteX121" fmla="*/ 6042433 w 12193149"/>
              <a:gd name="connsiteY121" fmla="*/ 2329473 h 2344739"/>
              <a:gd name="connsiteX122" fmla="*/ 6011238 w 12193149"/>
              <a:gd name="connsiteY122" fmla="*/ 2324380 h 2344739"/>
              <a:gd name="connsiteX123" fmla="*/ 5958523 w 12193149"/>
              <a:gd name="connsiteY123" fmla="*/ 2328024 h 2344739"/>
              <a:gd name="connsiteX124" fmla="*/ 5760067 w 12193149"/>
              <a:gd name="connsiteY124" fmla="*/ 2343716 h 2344739"/>
              <a:gd name="connsiteX125" fmla="*/ 5628108 w 12193149"/>
              <a:gd name="connsiteY125" fmla="*/ 2344739 h 2344739"/>
              <a:gd name="connsiteX126" fmla="*/ 5472054 w 12193149"/>
              <a:gd name="connsiteY126" fmla="*/ 2330719 h 2344739"/>
              <a:gd name="connsiteX127" fmla="*/ 5433909 w 12193149"/>
              <a:gd name="connsiteY127" fmla="*/ 2319466 h 2344739"/>
              <a:gd name="connsiteX128" fmla="*/ 5382817 w 12193149"/>
              <a:gd name="connsiteY128" fmla="*/ 2301764 h 2344739"/>
              <a:gd name="connsiteX129" fmla="*/ 5262912 w 12193149"/>
              <a:gd name="connsiteY129" fmla="*/ 2281347 h 2344739"/>
              <a:gd name="connsiteX130" fmla="*/ 5224109 w 12193149"/>
              <a:gd name="connsiteY130" fmla="*/ 2270223 h 2344739"/>
              <a:gd name="connsiteX131" fmla="*/ 5175808 w 12193149"/>
              <a:gd name="connsiteY131" fmla="*/ 2267233 h 2344739"/>
              <a:gd name="connsiteX132" fmla="*/ 5157702 w 12193149"/>
              <a:gd name="connsiteY132" fmla="*/ 2260010 h 2344739"/>
              <a:gd name="connsiteX133" fmla="*/ 5143747 w 12193149"/>
              <a:gd name="connsiteY133" fmla="*/ 2256610 h 2344739"/>
              <a:gd name="connsiteX134" fmla="*/ 5140744 w 12193149"/>
              <a:gd name="connsiteY134" fmla="*/ 2254509 h 2344739"/>
              <a:gd name="connsiteX135" fmla="*/ 5122807 w 12193149"/>
              <a:gd name="connsiteY135" fmla="*/ 2243656 h 2344739"/>
              <a:gd name="connsiteX136" fmla="*/ 5066938 w 12193149"/>
              <a:gd name="connsiteY136" fmla="*/ 2250227 h 2344739"/>
              <a:gd name="connsiteX137" fmla="*/ 5012662 w 12193149"/>
              <a:gd name="connsiteY137" fmla="*/ 2233846 h 2344739"/>
              <a:gd name="connsiteX138" fmla="*/ 4841589 w 12193149"/>
              <a:gd name="connsiteY138" fmla="*/ 2209829 h 2344739"/>
              <a:gd name="connsiteX139" fmla="*/ 4763595 w 12193149"/>
              <a:gd name="connsiteY139" fmla="*/ 2182061 h 2344739"/>
              <a:gd name="connsiteX140" fmla="*/ 4724334 w 12193149"/>
              <a:gd name="connsiteY140" fmla="*/ 2173047 h 2344739"/>
              <a:gd name="connsiteX141" fmla="*/ 4722324 w 12193149"/>
              <a:gd name="connsiteY141" fmla="*/ 2172298 h 2344739"/>
              <a:gd name="connsiteX142" fmla="*/ 4723259 w 12193149"/>
              <a:gd name="connsiteY142" fmla="*/ 2172087 h 2344739"/>
              <a:gd name="connsiteX143" fmla="*/ 4718350 w 12193149"/>
              <a:gd name="connsiteY143" fmla="*/ 2170817 h 2344739"/>
              <a:gd name="connsiteX144" fmla="*/ 4722324 w 12193149"/>
              <a:gd name="connsiteY144" fmla="*/ 2172298 h 2344739"/>
              <a:gd name="connsiteX145" fmla="*/ 4716674 w 12193149"/>
              <a:gd name="connsiteY145" fmla="*/ 2173573 h 2344739"/>
              <a:gd name="connsiteX146" fmla="*/ 4516962 w 12193149"/>
              <a:gd name="connsiteY146" fmla="*/ 2163671 h 2344739"/>
              <a:gd name="connsiteX147" fmla="*/ 4429691 w 12193149"/>
              <a:gd name="connsiteY147" fmla="*/ 2153020 h 2344739"/>
              <a:gd name="connsiteX148" fmla="*/ 4364023 w 12193149"/>
              <a:gd name="connsiteY148" fmla="*/ 2151674 h 2344739"/>
              <a:gd name="connsiteX149" fmla="*/ 4318114 w 12193149"/>
              <a:gd name="connsiteY149" fmla="*/ 2158289 h 2344739"/>
              <a:gd name="connsiteX150" fmla="*/ 4316258 w 12193149"/>
              <a:gd name="connsiteY150" fmla="*/ 2156948 h 2344739"/>
              <a:gd name="connsiteX151" fmla="*/ 4296292 w 12193149"/>
              <a:gd name="connsiteY151" fmla="*/ 2155069 h 2344739"/>
              <a:gd name="connsiteX152" fmla="*/ 4291212 w 12193149"/>
              <a:gd name="connsiteY152" fmla="*/ 2157986 h 2344739"/>
              <a:gd name="connsiteX153" fmla="*/ 4277290 w 12193149"/>
              <a:gd name="connsiteY153" fmla="*/ 2157740 h 2344739"/>
              <a:gd name="connsiteX154" fmla="*/ 4249265 w 12193149"/>
              <a:gd name="connsiteY154" fmla="*/ 2160064 h 2344739"/>
              <a:gd name="connsiteX155" fmla="*/ 4203199 w 12193149"/>
              <a:gd name="connsiteY155" fmla="*/ 2157269 h 2344739"/>
              <a:gd name="connsiteX156" fmla="*/ 4202893 w 12193149"/>
              <a:gd name="connsiteY156" fmla="*/ 2156010 h 2344739"/>
              <a:gd name="connsiteX157" fmla="*/ 4192396 w 12193149"/>
              <a:gd name="connsiteY157" fmla="*/ 2150376 h 2344739"/>
              <a:gd name="connsiteX158" fmla="*/ 4143893 w 12193149"/>
              <a:gd name="connsiteY158" fmla="*/ 2134511 h 2344739"/>
              <a:gd name="connsiteX159" fmla="*/ 4084245 w 12193149"/>
              <a:gd name="connsiteY159" fmla="*/ 2107978 h 2344739"/>
              <a:gd name="connsiteX160" fmla="*/ 4075694 w 12193149"/>
              <a:gd name="connsiteY160" fmla="*/ 2107143 h 2344739"/>
              <a:gd name="connsiteX161" fmla="*/ 4075575 w 12193149"/>
              <a:gd name="connsiteY161" fmla="*/ 2106844 h 2344739"/>
              <a:gd name="connsiteX162" fmla="*/ 4066658 w 12193149"/>
              <a:gd name="connsiteY162" fmla="*/ 2105400 h 2344739"/>
              <a:gd name="connsiteX163" fmla="*/ 4060102 w 12193149"/>
              <a:gd name="connsiteY163" fmla="*/ 2105618 h 2344739"/>
              <a:gd name="connsiteX164" fmla="*/ 4043512 w 12193149"/>
              <a:gd name="connsiteY164" fmla="*/ 2103997 h 2344739"/>
              <a:gd name="connsiteX165" fmla="*/ 4038145 w 12193149"/>
              <a:gd name="connsiteY165" fmla="*/ 2101563 h 2344739"/>
              <a:gd name="connsiteX166" fmla="*/ 4036511 w 12193149"/>
              <a:gd name="connsiteY166" fmla="*/ 2097896 h 2344739"/>
              <a:gd name="connsiteX167" fmla="*/ 4034926 w 12193149"/>
              <a:gd name="connsiteY167" fmla="*/ 2098131 h 2344739"/>
              <a:gd name="connsiteX168" fmla="*/ 4005686 w 12193149"/>
              <a:gd name="connsiteY168" fmla="*/ 2085563 h 2344739"/>
              <a:gd name="connsiteX169" fmla="*/ 3937994 w 12193149"/>
              <a:gd name="connsiteY169" fmla="*/ 2068106 h 2344739"/>
              <a:gd name="connsiteX170" fmla="*/ 3898423 w 12193149"/>
              <a:gd name="connsiteY170" fmla="*/ 2062451 h 2344739"/>
              <a:gd name="connsiteX171" fmla="*/ 3790908 w 12193149"/>
              <a:gd name="connsiteY171" fmla="*/ 2042213 h 2344739"/>
              <a:gd name="connsiteX172" fmla="*/ 3683661 w 12193149"/>
              <a:gd name="connsiteY172" fmla="*/ 2018290 h 2344739"/>
              <a:gd name="connsiteX173" fmla="*/ 3611183 w 12193149"/>
              <a:gd name="connsiteY173" fmla="*/ 1986019 h 2344739"/>
              <a:gd name="connsiteX174" fmla="*/ 3605003 w 12193149"/>
              <a:gd name="connsiteY174" fmla="*/ 1987381 h 2344739"/>
              <a:gd name="connsiteX175" fmla="*/ 3595884 w 12193149"/>
              <a:gd name="connsiteY175" fmla="*/ 1987545 h 2344739"/>
              <a:gd name="connsiteX176" fmla="*/ 3595649 w 12193149"/>
              <a:gd name="connsiteY176" fmla="*/ 1987276 h 2344739"/>
              <a:gd name="connsiteX177" fmla="*/ 3587126 w 12193149"/>
              <a:gd name="connsiteY177" fmla="*/ 1987966 h 2344739"/>
              <a:gd name="connsiteX178" fmla="*/ 3537283 w 12193149"/>
              <a:gd name="connsiteY178" fmla="*/ 1978267 h 2344739"/>
              <a:gd name="connsiteX179" fmla="*/ 3474371 w 12193149"/>
              <a:gd name="connsiteY179" fmla="*/ 1974606 h 2344739"/>
              <a:gd name="connsiteX180" fmla="*/ 3401876 w 12193149"/>
              <a:gd name="connsiteY180" fmla="*/ 1962558 h 2344739"/>
              <a:gd name="connsiteX181" fmla="*/ 3365036 w 12193149"/>
              <a:gd name="connsiteY181" fmla="*/ 1979510 h 2344739"/>
              <a:gd name="connsiteX182" fmla="*/ 3345174 w 12193149"/>
              <a:gd name="connsiteY182" fmla="*/ 1981192 h 2344739"/>
              <a:gd name="connsiteX183" fmla="*/ 3342846 w 12193149"/>
              <a:gd name="connsiteY183" fmla="*/ 1980217 h 2344739"/>
              <a:gd name="connsiteX184" fmla="*/ 3263504 w 12193149"/>
              <a:gd name="connsiteY184" fmla="*/ 1986094 h 2344739"/>
              <a:gd name="connsiteX185" fmla="*/ 3143704 w 12193149"/>
              <a:gd name="connsiteY185" fmla="*/ 1993869 h 2344739"/>
              <a:gd name="connsiteX186" fmla="*/ 3031439 w 12193149"/>
              <a:gd name="connsiteY186" fmla="*/ 1996512 h 2344739"/>
              <a:gd name="connsiteX187" fmla="*/ 2782717 w 12193149"/>
              <a:gd name="connsiteY187" fmla="*/ 2018333 h 2344739"/>
              <a:gd name="connsiteX188" fmla="*/ 2647675 w 12193149"/>
              <a:gd name="connsiteY188" fmla="*/ 2028869 h 2344739"/>
              <a:gd name="connsiteX189" fmla="*/ 2569176 w 12193149"/>
              <a:gd name="connsiteY189" fmla="*/ 2002628 h 2344739"/>
              <a:gd name="connsiteX190" fmla="*/ 2444403 w 12193149"/>
              <a:gd name="connsiteY190" fmla="*/ 2016529 h 2344739"/>
              <a:gd name="connsiteX191" fmla="*/ 2316260 w 12193149"/>
              <a:gd name="connsiteY191" fmla="*/ 2024996 h 2344739"/>
              <a:gd name="connsiteX192" fmla="*/ 2209726 w 12193149"/>
              <a:gd name="connsiteY192" fmla="*/ 2019763 h 2344739"/>
              <a:gd name="connsiteX193" fmla="*/ 2095813 w 12193149"/>
              <a:gd name="connsiteY193" fmla="*/ 2003052 h 2344739"/>
              <a:gd name="connsiteX194" fmla="*/ 1998504 w 12193149"/>
              <a:gd name="connsiteY194" fmla="*/ 1995032 h 2344739"/>
              <a:gd name="connsiteX195" fmla="*/ 1929320 w 12193149"/>
              <a:gd name="connsiteY195" fmla="*/ 2016977 h 2344739"/>
              <a:gd name="connsiteX196" fmla="*/ 1922798 w 12193149"/>
              <a:gd name="connsiteY196" fmla="*/ 2012146 h 2344739"/>
              <a:gd name="connsiteX197" fmla="*/ 1874228 w 12193149"/>
              <a:gd name="connsiteY197" fmla="*/ 2013741 h 2344739"/>
              <a:gd name="connsiteX198" fmla="*/ 1787803 w 12193149"/>
              <a:gd name="connsiteY198" fmla="*/ 2041363 h 2344739"/>
              <a:gd name="connsiteX199" fmla="*/ 1739352 w 12193149"/>
              <a:gd name="connsiteY199" fmla="*/ 2036312 h 2344739"/>
              <a:gd name="connsiteX200" fmla="*/ 1676219 w 12193149"/>
              <a:gd name="connsiteY200" fmla="*/ 2019963 h 2344739"/>
              <a:gd name="connsiteX201" fmla="*/ 1609817 w 12193149"/>
              <a:gd name="connsiteY201" fmla="*/ 2013066 h 2344739"/>
              <a:gd name="connsiteX202" fmla="*/ 1497258 w 12193149"/>
              <a:gd name="connsiteY202" fmla="*/ 1987476 h 2344739"/>
              <a:gd name="connsiteX203" fmla="*/ 1151127 w 12193149"/>
              <a:gd name="connsiteY203" fmla="*/ 1938041 h 2344739"/>
              <a:gd name="connsiteX204" fmla="*/ 859417 w 12193149"/>
              <a:gd name="connsiteY204" fmla="*/ 1928608 h 2344739"/>
              <a:gd name="connsiteX205" fmla="*/ 838688 w 12193149"/>
              <a:gd name="connsiteY205" fmla="*/ 1929821 h 2344739"/>
              <a:gd name="connsiteX206" fmla="*/ 817957 w 12193149"/>
              <a:gd name="connsiteY206" fmla="*/ 1927857 h 2344739"/>
              <a:gd name="connsiteX207" fmla="*/ 812654 w 12193149"/>
              <a:gd name="connsiteY207" fmla="*/ 1930751 h 2344739"/>
              <a:gd name="connsiteX208" fmla="*/ 721195 w 12193149"/>
              <a:gd name="connsiteY208" fmla="*/ 1929661 h 2344739"/>
              <a:gd name="connsiteX209" fmla="*/ 720890 w 12193149"/>
              <a:gd name="connsiteY209" fmla="*/ 1928399 h 2344739"/>
              <a:gd name="connsiteX210" fmla="*/ 710023 w 12193149"/>
              <a:gd name="connsiteY210" fmla="*/ 1922722 h 2344739"/>
              <a:gd name="connsiteX211" fmla="*/ 597940 w 12193149"/>
              <a:gd name="connsiteY211" fmla="*/ 1879864 h 2344739"/>
              <a:gd name="connsiteX212" fmla="*/ 579683 w 12193149"/>
              <a:gd name="connsiteY212" fmla="*/ 1877212 h 2344739"/>
              <a:gd name="connsiteX213" fmla="*/ 572865 w 12193149"/>
              <a:gd name="connsiteY213" fmla="*/ 1877401 h 2344739"/>
              <a:gd name="connsiteX214" fmla="*/ 446247 w 12193149"/>
              <a:gd name="connsiteY214" fmla="*/ 1839371 h 2344739"/>
              <a:gd name="connsiteX215" fmla="*/ 405163 w 12193149"/>
              <a:gd name="connsiteY215" fmla="*/ 1833548 h 2344739"/>
              <a:gd name="connsiteX216" fmla="*/ 293583 w 12193149"/>
              <a:gd name="connsiteY216" fmla="*/ 1812852 h 2344739"/>
              <a:gd name="connsiteX217" fmla="*/ 119529 w 12193149"/>
              <a:gd name="connsiteY217" fmla="*/ 1761047 h 2344739"/>
              <a:gd name="connsiteX218" fmla="*/ 16674 w 12193149"/>
              <a:gd name="connsiteY218" fmla="*/ 1758191 h 2344739"/>
              <a:gd name="connsiteX219" fmla="*/ 1150 w 12193149"/>
              <a:gd name="connsiteY219" fmla="*/ 1752722 h 2344739"/>
              <a:gd name="connsiteX220" fmla="*/ 1148 w 12193149"/>
              <a:gd name="connsiteY220" fmla="*/ 222213 h 2344739"/>
              <a:gd name="connsiteX221" fmla="*/ 1148 w 12193149"/>
              <a:gd name="connsiteY221"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749767 w 12193149"/>
              <a:gd name="connsiteY23" fmla="*/ 872002 h 2344739"/>
              <a:gd name="connsiteX24" fmla="*/ 11590693 w 12193149"/>
              <a:gd name="connsiteY24" fmla="*/ 963777 h 2344739"/>
              <a:gd name="connsiteX25" fmla="*/ 11506817 w 12193149"/>
              <a:gd name="connsiteY25" fmla="*/ 1033623 h 2344739"/>
              <a:gd name="connsiteX26" fmla="*/ 11280332 w 12193149"/>
              <a:gd name="connsiteY26" fmla="*/ 1223571 h 2344739"/>
              <a:gd name="connsiteX27" fmla="*/ 11228309 w 12193149"/>
              <a:gd name="connsiteY27" fmla="*/ 1276236 h 2344739"/>
              <a:gd name="connsiteX28" fmla="*/ 11218087 w 12193149"/>
              <a:gd name="connsiteY28" fmla="*/ 1275961 h 2344739"/>
              <a:gd name="connsiteX29" fmla="*/ 11217184 w 12193149"/>
              <a:gd name="connsiteY29" fmla="*/ 1275018 h 2344739"/>
              <a:gd name="connsiteX30" fmla="*/ 11188885 w 12193149"/>
              <a:gd name="connsiteY30" fmla="*/ 1292383 h 2344739"/>
              <a:gd name="connsiteX31" fmla="*/ 11184501 w 12193149"/>
              <a:gd name="connsiteY31" fmla="*/ 1292525 h 2344739"/>
              <a:gd name="connsiteX32" fmla="*/ 11166854 w 12193149"/>
              <a:gd name="connsiteY32" fmla="*/ 1306612 h 2344739"/>
              <a:gd name="connsiteX33" fmla="*/ 11157311 w 12193149"/>
              <a:gd name="connsiteY33" fmla="*/ 1312414 h 2344739"/>
              <a:gd name="connsiteX34" fmla="*/ 11155496 w 12193149"/>
              <a:gd name="connsiteY34" fmla="*/ 1317097 h 2344739"/>
              <a:gd name="connsiteX35" fmla="*/ 11140961 w 12193149"/>
              <a:gd name="connsiteY35" fmla="*/ 1324115 h 2344739"/>
              <a:gd name="connsiteX36" fmla="*/ 11138961 w 12193149"/>
              <a:gd name="connsiteY36" fmla="*/ 1323772 h 2344739"/>
              <a:gd name="connsiteX37" fmla="*/ 11128208 w 12193149"/>
              <a:gd name="connsiteY37" fmla="*/ 1333832 h 2344739"/>
              <a:gd name="connsiteX38" fmla="*/ 11120691 w 12193149"/>
              <a:gd name="connsiteY38" fmla="*/ 1347424 h 2344739"/>
              <a:gd name="connsiteX39" fmla="*/ 10894683 w 12193149"/>
              <a:gd name="connsiteY39" fmla="*/ 1473399 h 2344739"/>
              <a:gd name="connsiteX40" fmla="*/ 10773300 w 12193149"/>
              <a:gd name="connsiteY40" fmla="*/ 1523191 h 2344739"/>
              <a:gd name="connsiteX41" fmla="*/ 10627668 w 12193149"/>
              <a:gd name="connsiteY41" fmla="*/ 1559229 h 2344739"/>
              <a:gd name="connsiteX42" fmla="*/ 10581895 w 12193149"/>
              <a:gd name="connsiteY42" fmla="*/ 1568689 h 2344739"/>
              <a:gd name="connsiteX43" fmla="*/ 10547790 w 12193149"/>
              <a:gd name="connsiteY43" fmla="*/ 1598423 h 2344739"/>
              <a:gd name="connsiteX44" fmla="*/ 10529643 w 12193149"/>
              <a:gd name="connsiteY44" fmla="*/ 1596907 h 2344739"/>
              <a:gd name="connsiteX45" fmla="*/ 10526446 w 12193149"/>
              <a:gd name="connsiteY45" fmla="*/ 1596411 h 2344739"/>
              <a:gd name="connsiteX46" fmla="*/ 10515129 w 12193149"/>
              <a:gd name="connsiteY46" fmla="*/ 1599537 h 2344739"/>
              <a:gd name="connsiteX47" fmla="*/ 10491735 w 12193149"/>
              <a:gd name="connsiteY47" fmla="*/ 1594156 h 2344739"/>
              <a:gd name="connsiteX48" fmla="*/ 10471418 w 12193149"/>
              <a:gd name="connsiteY48" fmla="*/ 1601693 h 2344739"/>
              <a:gd name="connsiteX49" fmla="*/ 10377042 w 12193149"/>
              <a:gd name="connsiteY49" fmla="*/ 1644598 h 2344739"/>
              <a:gd name="connsiteX50" fmla="*/ 10319338 w 12193149"/>
              <a:gd name="connsiteY50" fmla="*/ 1666221 h 2344739"/>
              <a:gd name="connsiteX51" fmla="*/ 10295467 w 12193149"/>
              <a:gd name="connsiteY51" fmla="*/ 1668079 h 2344739"/>
              <a:gd name="connsiteX52" fmla="*/ 10263443 w 12193149"/>
              <a:gd name="connsiteY52" fmla="*/ 1674948 h 2344739"/>
              <a:gd name="connsiteX53" fmla="*/ 10205418 w 12193149"/>
              <a:gd name="connsiteY53" fmla="*/ 1682149 h 2344739"/>
              <a:gd name="connsiteX54" fmla="*/ 10177759 w 12193149"/>
              <a:gd name="connsiteY54" fmla="*/ 1692943 h 2344739"/>
              <a:gd name="connsiteX55" fmla="*/ 10165070 w 12193149"/>
              <a:gd name="connsiteY55" fmla="*/ 1693739 h 2344739"/>
              <a:gd name="connsiteX56" fmla="*/ 10156308 w 12193149"/>
              <a:gd name="connsiteY56" fmla="*/ 1707487 h 2344739"/>
              <a:gd name="connsiteX57" fmla="*/ 10118267 w 12193149"/>
              <a:gd name="connsiteY57" fmla="*/ 1731142 h 2344739"/>
              <a:gd name="connsiteX58" fmla="*/ 10101593 w 12193149"/>
              <a:gd name="connsiteY58" fmla="*/ 1742432 h 2344739"/>
              <a:gd name="connsiteX59" fmla="*/ 10083317 w 12193149"/>
              <a:gd name="connsiteY59" fmla="*/ 1743296 h 2344739"/>
              <a:gd name="connsiteX60" fmla="*/ 10040388 w 12193149"/>
              <a:gd name="connsiteY60" fmla="*/ 1741632 h 2344739"/>
              <a:gd name="connsiteX61" fmla="*/ 9961167 w 12193149"/>
              <a:gd name="connsiteY61" fmla="*/ 1757147 h 2344739"/>
              <a:gd name="connsiteX62" fmla="*/ 9848940 w 12193149"/>
              <a:gd name="connsiteY62" fmla="*/ 1763915 h 2344739"/>
              <a:gd name="connsiteX63" fmla="*/ 9729457 w 12193149"/>
              <a:gd name="connsiteY63" fmla="*/ 1784122 h 2344739"/>
              <a:gd name="connsiteX64" fmla="*/ 9585655 w 12193149"/>
              <a:gd name="connsiteY64" fmla="*/ 1795542 h 2344739"/>
              <a:gd name="connsiteX65" fmla="*/ 9344200 w 12193149"/>
              <a:gd name="connsiteY65" fmla="*/ 1841244 h 2344739"/>
              <a:gd name="connsiteX66" fmla="*/ 9232518 w 12193149"/>
              <a:gd name="connsiteY66" fmla="*/ 1893149 h 2344739"/>
              <a:gd name="connsiteX67" fmla="*/ 9156690 w 12193149"/>
              <a:gd name="connsiteY67" fmla="*/ 1903228 h 2344739"/>
              <a:gd name="connsiteX68" fmla="*/ 9054601 w 12193149"/>
              <a:gd name="connsiteY68" fmla="*/ 1910755 h 2344739"/>
              <a:gd name="connsiteX69" fmla="*/ 9006634 w 12193149"/>
              <a:gd name="connsiteY69" fmla="*/ 1914040 h 2344739"/>
              <a:gd name="connsiteX70" fmla="*/ 9006349 w 12193149"/>
              <a:gd name="connsiteY70" fmla="*/ 1913800 h 2344739"/>
              <a:gd name="connsiteX71" fmla="*/ 8997380 w 12193149"/>
              <a:gd name="connsiteY71" fmla="*/ 1915011 h 2344739"/>
              <a:gd name="connsiteX72" fmla="*/ 8991542 w 12193149"/>
              <a:gd name="connsiteY72" fmla="*/ 1917072 h 2344739"/>
              <a:gd name="connsiteX73" fmla="*/ 8975485 w 12193149"/>
              <a:gd name="connsiteY73" fmla="*/ 1920298 h 2344739"/>
              <a:gd name="connsiteX74" fmla="*/ 8969159 w 12193149"/>
              <a:gd name="connsiteY74" fmla="*/ 1919598 h 2344739"/>
              <a:gd name="connsiteX75" fmla="*/ 8964196 w 12193149"/>
              <a:gd name="connsiteY75" fmla="*/ 1917373 h 2344739"/>
              <a:gd name="connsiteX76" fmla="*/ 8930136 w 12193149"/>
              <a:gd name="connsiteY76" fmla="*/ 1914185 h 2344739"/>
              <a:gd name="connsiteX77" fmla="*/ 8753592 w 12193149"/>
              <a:gd name="connsiteY77" fmla="*/ 1933417 h 2344739"/>
              <a:gd name="connsiteX78" fmla="*/ 8708995 w 12193149"/>
              <a:gd name="connsiteY78" fmla="*/ 1935518 h 2344739"/>
              <a:gd name="connsiteX79" fmla="*/ 8597219 w 12193149"/>
              <a:gd name="connsiteY79" fmla="*/ 1944090 h 2344739"/>
              <a:gd name="connsiteX80" fmla="*/ 8526378 w 12193149"/>
              <a:gd name="connsiteY80" fmla="*/ 1929248 h 2344739"/>
              <a:gd name="connsiteX81" fmla="*/ 8512131 w 12193149"/>
              <a:gd name="connsiteY81" fmla="*/ 1935163 h 2344739"/>
              <a:gd name="connsiteX82" fmla="*/ 8507315 w 12193149"/>
              <a:gd name="connsiteY82" fmla="*/ 1938164 h 2344739"/>
              <a:gd name="connsiteX83" fmla="*/ 8499116 w 12193149"/>
              <a:gd name="connsiteY83" fmla="*/ 1940902 h 2344739"/>
              <a:gd name="connsiteX84" fmla="*/ 8498742 w 12193149"/>
              <a:gd name="connsiteY84" fmla="*/ 1940723 h 2344739"/>
              <a:gd name="connsiteX85" fmla="*/ 8491397 w 12193149"/>
              <a:gd name="connsiteY85" fmla="*/ 1943773 h 2344739"/>
              <a:gd name="connsiteX86" fmla="*/ 8368330 w 12193149"/>
              <a:gd name="connsiteY86" fmla="*/ 1957815 h 2344739"/>
              <a:gd name="connsiteX87" fmla="*/ 8354947 w 12193149"/>
              <a:gd name="connsiteY87" fmla="*/ 1958009 h 2344739"/>
              <a:gd name="connsiteX88" fmla="*/ 8321252 w 12193149"/>
              <a:gd name="connsiteY88" fmla="*/ 1974587 h 2344739"/>
              <a:gd name="connsiteX89" fmla="*/ 8315581 w 12193149"/>
              <a:gd name="connsiteY89" fmla="*/ 1974913 h 2344739"/>
              <a:gd name="connsiteX90" fmla="*/ 8296322 w 12193149"/>
              <a:gd name="connsiteY90" fmla="*/ 1988808 h 2344739"/>
              <a:gd name="connsiteX91" fmla="*/ 8285424 w 12193149"/>
              <a:gd name="connsiteY91" fmla="*/ 1994631 h 2344739"/>
              <a:gd name="connsiteX92" fmla="*/ 8284298 w 12193149"/>
              <a:gd name="connsiteY92" fmla="*/ 1999074 h 2344739"/>
              <a:gd name="connsiteX93" fmla="*/ 8267224 w 12193149"/>
              <a:gd name="connsiteY93" fmla="*/ 2006249 h 2344739"/>
              <a:gd name="connsiteX94" fmla="*/ 8264525 w 12193149"/>
              <a:gd name="connsiteY94" fmla="*/ 2006019 h 2344739"/>
              <a:gd name="connsiteX95" fmla="*/ 8253181 w 12193149"/>
              <a:gd name="connsiteY95" fmla="*/ 2015862 h 2344739"/>
              <a:gd name="connsiteX96" fmla="*/ 8246982 w 12193149"/>
              <a:gd name="connsiteY96" fmla="*/ 2028854 h 2344739"/>
              <a:gd name="connsiteX97" fmla="*/ 8091420 w 12193149"/>
              <a:gd name="connsiteY97" fmla="*/ 2075015 h 2344739"/>
              <a:gd name="connsiteX98" fmla="*/ 7906555 w 12193149"/>
              <a:gd name="connsiteY98" fmla="*/ 2116988 h 2344739"/>
              <a:gd name="connsiteX99" fmla="*/ 7719893 w 12193149"/>
              <a:gd name="connsiteY99" fmla="*/ 2142703 h 2344739"/>
              <a:gd name="connsiteX100" fmla="*/ 7615495 w 12193149"/>
              <a:gd name="connsiteY100" fmla="*/ 2139232 h 2344739"/>
              <a:gd name="connsiteX101" fmla="*/ 7528691 w 12193149"/>
              <a:gd name="connsiteY101" fmla="*/ 2145060 h 2344739"/>
              <a:gd name="connsiteX102" fmla="*/ 7520719 w 12193149"/>
              <a:gd name="connsiteY102" fmla="*/ 2147613 h 2344739"/>
              <a:gd name="connsiteX103" fmla="*/ 7508559 w 12193149"/>
              <a:gd name="connsiteY103" fmla="*/ 2148948 h 2344739"/>
              <a:gd name="connsiteX104" fmla="*/ 7508188 w 12193149"/>
              <a:gd name="connsiteY104" fmla="*/ 2148621 h 2344739"/>
              <a:gd name="connsiteX105" fmla="*/ 7496943 w 12193149"/>
              <a:gd name="connsiteY105" fmla="*/ 2150573 h 2344739"/>
              <a:gd name="connsiteX106" fmla="*/ 7406539 w 12193149"/>
              <a:gd name="connsiteY106" fmla="*/ 2142468 h 2344739"/>
              <a:gd name="connsiteX107" fmla="*/ 7219707 w 12193149"/>
              <a:gd name="connsiteY107" fmla="*/ 2156680 h 2344739"/>
              <a:gd name="connsiteX108" fmla="*/ 7202249 w 12193149"/>
              <a:gd name="connsiteY108" fmla="*/ 2161230 h 2344739"/>
              <a:gd name="connsiteX109" fmla="*/ 7198152 w 12193149"/>
              <a:gd name="connsiteY109" fmla="*/ 2166588 h 2344739"/>
              <a:gd name="connsiteX110" fmla="*/ 7171956 w 12193149"/>
              <a:gd name="connsiteY110" fmla="*/ 2171236 h 2344739"/>
              <a:gd name="connsiteX111" fmla="*/ 7098136 w 12193149"/>
              <a:gd name="connsiteY111" fmla="*/ 2183464 h 2344739"/>
              <a:gd name="connsiteX112" fmla="*/ 7019644 w 12193149"/>
              <a:gd name="connsiteY112" fmla="*/ 2183090 h 2344739"/>
              <a:gd name="connsiteX113" fmla="*/ 6905294 w 12193149"/>
              <a:gd name="connsiteY113" fmla="*/ 2212596 h 2344739"/>
              <a:gd name="connsiteX114" fmla="*/ 6709370 w 12193149"/>
              <a:gd name="connsiteY114" fmla="*/ 2240551 h 2344739"/>
              <a:gd name="connsiteX115" fmla="*/ 6550602 w 12193149"/>
              <a:gd name="connsiteY115" fmla="*/ 2269327 h 2344739"/>
              <a:gd name="connsiteX116" fmla="*/ 6318708 w 12193149"/>
              <a:gd name="connsiteY116" fmla="*/ 2316127 h 2344739"/>
              <a:gd name="connsiteX117" fmla="*/ 6169822 w 12193149"/>
              <a:gd name="connsiteY117" fmla="*/ 2318214 h 2344739"/>
              <a:gd name="connsiteX118" fmla="*/ 6074996 w 12193149"/>
              <a:gd name="connsiteY118" fmla="*/ 2338676 h 2344739"/>
              <a:gd name="connsiteX119" fmla="*/ 6069677 w 12193149"/>
              <a:gd name="connsiteY119" fmla="*/ 2337139 h 2344739"/>
              <a:gd name="connsiteX120" fmla="*/ 6049786 w 12193149"/>
              <a:gd name="connsiteY120" fmla="*/ 2337822 h 2344739"/>
              <a:gd name="connsiteX121" fmla="*/ 6042433 w 12193149"/>
              <a:gd name="connsiteY121" fmla="*/ 2329473 h 2344739"/>
              <a:gd name="connsiteX122" fmla="*/ 6011238 w 12193149"/>
              <a:gd name="connsiteY122" fmla="*/ 2324380 h 2344739"/>
              <a:gd name="connsiteX123" fmla="*/ 5958523 w 12193149"/>
              <a:gd name="connsiteY123" fmla="*/ 2328024 h 2344739"/>
              <a:gd name="connsiteX124" fmla="*/ 5760067 w 12193149"/>
              <a:gd name="connsiteY124" fmla="*/ 2343716 h 2344739"/>
              <a:gd name="connsiteX125" fmla="*/ 5628108 w 12193149"/>
              <a:gd name="connsiteY125" fmla="*/ 2344739 h 2344739"/>
              <a:gd name="connsiteX126" fmla="*/ 5472054 w 12193149"/>
              <a:gd name="connsiteY126" fmla="*/ 2330719 h 2344739"/>
              <a:gd name="connsiteX127" fmla="*/ 5433909 w 12193149"/>
              <a:gd name="connsiteY127" fmla="*/ 2319466 h 2344739"/>
              <a:gd name="connsiteX128" fmla="*/ 5382817 w 12193149"/>
              <a:gd name="connsiteY128" fmla="*/ 2301764 h 2344739"/>
              <a:gd name="connsiteX129" fmla="*/ 5262912 w 12193149"/>
              <a:gd name="connsiteY129" fmla="*/ 2281347 h 2344739"/>
              <a:gd name="connsiteX130" fmla="*/ 5224109 w 12193149"/>
              <a:gd name="connsiteY130" fmla="*/ 2270223 h 2344739"/>
              <a:gd name="connsiteX131" fmla="*/ 5175808 w 12193149"/>
              <a:gd name="connsiteY131" fmla="*/ 2267233 h 2344739"/>
              <a:gd name="connsiteX132" fmla="*/ 5157702 w 12193149"/>
              <a:gd name="connsiteY132" fmla="*/ 2260010 h 2344739"/>
              <a:gd name="connsiteX133" fmla="*/ 5143747 w 12193149"/>
              <a:gd name="connsiteY133" fmla="*/ 2256610 h 2344739"/>
              <a:gd name="connsiteX134" fmla="*/ 5140744 w 12193149"/>
              <a:gd name="connsiteY134" fmla="*/ 2254509 h 2344739"/>
              <a:gd name="connsiteX135" fmla="*/ 5122807 w 12193149"/>
              <a:gd name="connsiteY135" fmla="*/ 2243656 h 2344739"/>
              <a:gd name="connsiteX136" fmla="*/ 5066938 w 12193149"/>
              <a:gd name="connsiteY136" fmla="*/ 2250227 h 2344739"/>
              <a:gd name="connsiteX137" fmla="*/ 5012662 w 12193149"/>
              <a:gd name="connsiteY137" fmla="*/ 2233846 h 2344739"/>
              <a:gd name="connsiteX138" fmla="*/ 4841589 w 12193149"/>
              <a:gd name="connsiteY138" fmla="*/ 2209829 h 2344739"/>
              <a:gd name="connsiteX139" fmla="*/ 4763595 w 12193149"/>
              <a:gd name="connsiteY139" fmla="*/ 2182061 h 2344739"/>
              <a:gd name="connsiteX140" fmla="*/ 4724334 w 12193149"/>
              <a:gd name="connsiteY140" fmla="*/ 2173047 h 2344739"/>
              <a:gd name="connsiteX141" fmla="*/ 4722324 w 12193149"/>
              <a:gd name="connsiteY141" fmla="*/ 2172298 h 2344739"/>
              <a:gd name="connsiteX142" fmla="*/ 4723259 w 12193149"/>
              <a:gd name="connsiteY142" fmla="*/ 2172087 h 2344739"/>
              <a:gd name="connsiteX143" fmla="*/ 4718350 w 12193149"/>
              <a:gd name="connsiteY143" fmla="*/ 2170817 h 2344739"/>
              <a:gd name="connsiteX144" fmla="*/ 4722324 w 12193149"/>
              <a:gd name="connsiteY144" fmla="*/ 2172298 h 2344739"/>
              <a:gd name="connsiteX145" fmla="*/ 4716674 w 12193149"/>
              <a:gd name="connsiteY145" fmla="*/ 2173573 h 2344739"/>
              <a:gd name="connsiteX146" fmla="*/ 4516962 w 12193149"/>
              <a:gd name="connsiteY146" fmla="*/ 2163671 h 2344739"/>
              <a:gd name="connsiteX147" fmla="*/ 4429691 w 12193149"/>
              <a:gd name="connsiteY147" fmla="*/ 2153020 h 2344739"/>
              <a:gd name="connsiteX148" fmla="*/ 4364023 w 12193149"/>
              <a:gd name="connsiteY148" fmla="*/ 2151674 h 2344739"/>
              <a:gd name="connsiteX149" fmla="*/ 4318114 w 12193149"/>
              <a:gd name="connsiteY149" fmla="*/ 2158289 h 2344739"/>
              <a:gd name="connsiteX150" fmla="*/ 4316258 w 12193149"/>
              <a:gd name="connsiteY150" fmla="*/ 2156948 h 2344739"/>
              <a:gd name="connsiteX151" fmla="*/ 4296292 w 12193149"/>
              <a:gd name="connsiteY151" fmla="*/ 2155069 h 2344739"/>
              <a:gd name="connsiteX152" fmla="*/ 4291212 w 12193149"/>
              <a:gd name="connsiteY152" fmla="*/ 2157986 h 2344739"/>
              <a:gd name="connsiteX153" fmla="*/ 4277290 w 12193149"/>
              <a:gd name="connsiteY153" fmla="*/ 2157740 h 2344739"/>
              <a:gd name="connsiteX154" fmla="*/ 4249265 w 12193149"/>
              <a:gd name="connsiteY154" fmla="*/ 2160064 h 2344739"/>
              <a:gd name="connsiteX155" fmla="*/ 4203199 w 12193149"/>
              <a:gd name="connsiteY155" fmla="*/ 2157269 h 2344739"/>
              <a:gd name="connsiteX156" fmla="*/ 4202893 w 12193149"/>
              <a:gd name="connsiteY156" fmla="*/ 2156010 h 2344739"/>
              <a:gd name="connsiteX157" fmla="*/ 4192396 w 12193149"/>
              <a:gd name="connsiteY157" fmla="*/ 2150376 h 2344739"/>
              <a:gd name="connsiteX158" fmla="*/ 4143893 w 12193149"/>
              <a:gd name="connsiteY158" fmla="*/ 2134511 h 2344739"/>
              <a:gd name="connsiteX159" fmla="*/ 4084245 w 12193149"/>
              <a:gd name="connsiteY159" fmla="*/ 2107978 h 2344739"/>
              <a:gd name="connsiteX160" fmla="*/ 4075694 w 12193149"/>
              <a:gd name="connsiteY160" fmla="*/ 2107143 h 2344739"/>
              <a:gd name="connsiteX161" fmla="*/ 4075575 w 12193149"/>
              <a:gd name="connsiteY161" fmla="*/ 2106844 h 2344739"/>
              <a:gd name="connsiteX162" fmla="*/ 4066658 w 12193149"/>
              <a:gd name="connsiteY162" fmla="*/ 2105400 h 2344739"/>
              <a:gd name="connsiteX163" fmla="*/ 4060102 w 12193149"/>
              <a:gd name="connsiteY163" fmla="*/ 2105618 h 2344739"/>
              <a:gd name="connsiteX164" fmla="*/ 4043512 w 12193149"/>
              <a:gd name="connsiteY164" fmla="*/ 2103997 h 2344739"/>
              <a:gd name="connsiteX165" fmla="*/ 4038145 w 12193149"/>
              <a:gd name="connsiteY165" fmla="*/ 2101563 h 2344739"/>
              <a:gd name="connsiteX166" fmla="*/ 4036511 w 12193149"/>
              <a:gd name="connsiteY166" fmla="*/ 2097896 h 2344739"/>
              <a:gd name="connsiteX167" fmla="*/ 4034926 w 12193149"/>
              <a:gd name="connsiteY167" fmla="*/ 2098131 h 2344739"/>
              <a:gd name="connsiteX168" fmla="*/ 4005686 w 12193149"/>
              <a:gd name="connsiteY168" fmla="*/ 2085563 h 2344739"/>
              <a:gd name="connsiteX169" fmla="*/ 3937994 w 12193149"/>
              <a:gd name="connsiteY169" fmla="*/ 2068106 h 2344739"/>
              <a:gd name="connsiteX170" fmla="*/ 3898423 w 12193149"/>
              <a:gd name="connsiteY170" fmla="*/ 2062451 h 2344739"/>
              <a:gd name="connsiteX171" fmla="*/ 3790908 w 12193149"/>
              <a:gd name="connsiteY171" fmla="*/ 2042213 h 2344739"/>
              <a:gd name="connsiteX172" fmla="*/ 3683661 w 12193149"/>
              <a:gd name="connsiteY172" fmla="*/ 2018290 h 2344739"/>
              <a:gd name="connsiteX173" fmla="*/ 3611183 w 12193149"/>
              <a:gd name="connsiteY173" fmla="*/ 1986019 h 2344739"/>
              <a:gd name="connsiteX174" fmla="*/ 3605003 w 12193149"/>
              <a:gd name="connsiteY174" fmla="*/ 1987381 h 2344739"/>
              <a:gd name="connsiteX175" fmla="*/ 3595884 w 12193149"/>
              <a:gd name="connsiteY175" fmla="*/ 1987545 h 2344739"/>
              <a:gd name="connsiteX176" fmla="*/ 3595649 w 12193149"/>
              <a:gd name="connsiteY176" fmla="*/ 1987276 h 2344739"/>
              <a:gd name="connsiteX177" fmla="*/ 3587126 w 12193149"/>
              <a:gd name="connsiteY177" fmla="*/ 1987966 h 2344739"/>
              <a:gd name="connsiteX178" fmla="*/ 3537283 w 12193149"/>
              <a:gd name="connsiteY178" fmla="*/ 1978267 h 2344739"/>
              <a:gd name="connsiteX179" fmla="*/ 3474371 w 12193149"/>
              <a:gd name="connsiteY179" fmla="*/ 1974606 h 2344739"/>
              <a:gd name="connsiteX180" fmla="*/ 3401876 w 12193149"/>
              <a:gd name="connsiteY180" fmla="*/ 1962558 h 2344739"/>
              <a:gd name="connsiteX181" fmla="*/ 3365036 w 12193149"/>
              <a:gd name="connsiteY181" fmla="*/ 1979510 h 2344739"/>
              <a:gd name="connsiteX182" fmla="*/ 3345174 w 12193149"/>
              <a:gd name="connsiteY182" fmla="*/ 1981192 h 2344739"/>
              <a:gd name="connsiteX183" fmla="*/ 3342846 w 12193149"/>
              <a:gd name="connsiteY183" fmla="*/ 1980217 h 2344739"/>
              <a:gd name="connsiteX184" fmla="*/ 3263504 w 12193149"/>
              <a:gd name="connsiteY184" fmla="*/ 1986094 h 2344739"/>
              <a:gd name="connsiteX185" fmla="*/ 3143704 w 12193149"/>
              <a:gd name="connsiteY185" fmla="*/ 1993869 h 2344739"/>
              <a:gd name="connsiteX186" fmla="*/ 3031439 w 12193149"/>
              <a:gd name="connsiteY186" fmla="*/ 1996512 h 2344739"/>
              <a:gd name="connsiteX187" fmla="*/ 2782717 w 12193149"/>
              <a:gd name="connsiteY187" fmla="*/ 2018333 h 2344739"/>
              <a:gd name="connsiteX188" fmla="*/ 2647675 w 12193149"/>
              <a:gd name="connsiteY188" fmla="*/ 2028869 h 2344739"/>
              <a:gd name="connsiteX189" fmla="*/ 2569176 w 12193149"/>
              <a:gd name="connsiteY189" fmla="*/ 2002628 h 2344739"/>
              <a:gd name="connsiteX190" fmla="*/ 2444403 w 12193149"/>
              <a:gd name="connsiteY190" fmla="*/ 2016529 h 2344739"/>
              <a:gd name="connsiteX191" fmla="*/ 2316260 w 12193149"/>
              <a:gd name="connsiteY191" fmla="*/ 2024996 h 2344739"/>
              <a:gd name="connsiteX192" fmla="*/ 2209726 w 12193149"/>
              <a:gd name="connsiteY192" fmla="*/ 2019763 h 2344739"/>
              <a:gd name="connsiteX193" fmla="*/ 2095813 w 12193149"/>
              <a:gd name="connsiteY193" fmla="*/ 2003052 h 2344739"/>
              <a:gd name="connsiteX194" fmla="*/ 1998504 w 12193149"/>
              <a:gd name="connsiteY194" fmla="*/ 1995032 h 2344739"/>
              <a:gd name="connsiteX195" fmla="*/ 1929320 w 12193149"/>
              <a:gd name="connsiteY195" fmla="*/ 2016977 h 2344739"/>
              <a:gd name="connsiteX196" fmla="*/ 1922798 w 12193149"/>
              <a:gd name="connsiteY196" fmla="*/ 2012146 h 2344739"/>
              <a:gd name="connsiteX197" fmla="*/ 1874228 w 12193149"/>
              <a:gd name="connsiteY197" fmla="*/ 2013741 h 2344739"/>
              <a:gd name="connsiteX198" fmla="*/ 1787803 w 12193149"/>
              <a:gd name="connsiteY198" fmla="*/ 2041363 h 2344739"/>
              <a:gd name="connsiteX199" fmla="*/ 1739352 w 12193149"/>
              <a:gd name="connsiteY199" fmla="*/ 2036312 h 2344739"/>
              <a:gd name="connsiteX200" fmla="*/ 1676219 w 12193149"/>
              <a:gd name="connsiteY200" fmla="*/ 2019963 h 2344739"/>
              <a:gd name="connsiteX201" fmla="*/ 1609817 w 12193149"/>
              <a:gd name="connsiteY201" fmla="*/ 2013066 h 2344739"/>
              <a:gd name="connsiteX202" fmla="*/ 1497258 w 12193149"/>
              <a:gd name="connsiteY202" fmla="*/ 1987476 h 2344739"/>
              <a:gd name="connsiteX203" fmla="*/ 1151127 w 12193149"/>
              <a:gd name="connsiteY203" fmla="*/ 1938041 h 2344739"/>
              <a:gd name="connsiteX204" fmla="*/ 859417 w 12193149"/>
              <a:gd name="connsiteY204" fmla="*/ 1928608 h 2344739"/>
              <a:gd name="connsiteX205" fmla="*/ 838688 w 12193149"/>
              <a:gd name="connsiteY205" fmla="*/ 1929821 h 2344739"/>
              <a:gd name="connsiteX206" fmla="*/ 817957 w 12193149"/>
              <a:gd name="connsiteY206" fmla="*/ 1927857 h 2344739"/>
              <a:gd name="connsiteX207" fmla="*/ 812654 w 12193149"/>
              <a:gd name="connsiteY207" fmla="*/ 1930751 h 2344739"/>
              <a:gd name="connsiteX208" fmla="*/ 721195 w 12193149"/>
              <a:gd name="connsiteY208" fmla="*/ 1929661 h 2344739"/>
              <a:gd name="connsiteX209" fmla="*/ 720890 w 12193149"/>
              <a:gd name="connsiteY209" fmla="*/ 1928399 h 2344739"/>
              <a:gd name="connsiteX210" fmla="*/ 710023 w 12193149"/>
              <a:gd name="connsiteY210" fmla="*/ 1922722 h 2344739"/>
              <a:gd name="connsiteX211" fmla="*/ 597940 w 12193149"/>
              <a:gd name="connsiteY211" fmla="*/ 1879864 h 2344739"/>
              <a:gd name="connsiteX212" fmla="*/ 579683 w 12193149"/>
              <a:gd name="connsiteY212" fmla="*/ 1877212 h 2344739"/>
              <a:gd name="connsiteX213" fmla="*/ 572865 w 12193149"/>
              <a:gd name="connsiteY213" fmla="*/ 1877401 h 2344739"/>
              <a:gd name="connsiteX214" fmla="*/ 446247 w 12193149"/>
              <a:gd name="connsiteY214" fmla="*/ 1839371 h 2344739"/>
              <a:gd name="connsiteX215" fmla="*/ 405163 w 12193149"/>
              <a:gd name="connsiteY215" fmla="*/ 1833548 h 2344739"/>
              <a:gd name="connsiteX216" fmla="*/ 293583 w 12193149"/>
              <a:gd name="connsiteY216" fmla="*/ 1812852 h 2344739"/>
              <a:gd name="connsiteX217" fmla="*/ 119529 w 12193149"/>
              <a:gd name="connsiteY217" fmla="*/ 1761047 h 2344739"/>
              <a:gd name="connsiteX218" fmla="*/ 16674 w 12193149"/>
              <a:gd name="connsiteY218" fmla="*/ 1758191 h 2344739"/>
              <a:gd name="connsiteX219" fmla="*/ 1150 w 12193149"/>
              <a:gd name="connsiteY219" fmla="*/ 1752722 h 2344739"/>
              <a:gd name="connsiteX220" fmla="*/ 1148 w 12193149"/>
              <a:gd name="connsiteY220" fmla="*/ 222213 h 2344739"/>
              <a:gd name="connsiteX221" fmla="*/ 1148 w 12193149"/>
              <a:gd name="connsiteY221"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749767 w 12193149"/>
              <a:gd name="connsiteY23" fmla="*/ 872002 h 2344739"/>
              <a:gd name="connsiteX24" fmla="*/ 11590693 w 12193149"/>
              <a:gd name="connsiteY24" fmla="*/ 963777 h 2344739"/>
              <a:gd name="connsiteX25" fmla="*/ 11506817 w 12193149"/>
              <a:gd name="connsiteY25" fmla="*/ 1033623 h 2344739"/>
              <a:gd name="connsiteX26" fmla="*/ 11280332 w 12193149"/>
              <a:gd name="connsiteY26" fmla="*/ 1223571 h 2344739"/>
              <a:gd name="connsiteX27" fmla="*/ 11228309 w 12193149"/>
              <a:gd name="connsiteY27" fmla="*/ 1276236 h 2344739"/>
              <a:gd name="connsiteX28" fmla="*/ 11218087 w 12193149"/>
              <a:gd name="connsiteY28" fmla="*/ 1275961 h 2344739"/>
              <a:gd name="connsiteX29" fmla="*/ 11217184 w 12193149"/>
              <a:gd name="connsiteY29" fmla="*/ 1275018 h 2344739"/>
              <a:gd name="connsiteX30" fmla="*/ 11188885 w 12193149"/>
              <a:gd name="connsiteY30" fmla="*/ 1292383 h 2344739"/>
              <a:gd name="connsiteX31" fmla="*/ 11184501 w 12193149"/>
              <a:gd name="connsiteY31" fmla="*/ 1292525 h 2344739"/>
              <a:gd name="connsiteX32" fmla="*/ 11166854 w 12193149"/>
              <a:gd name="connsiteY32" fmla="*/ 1306612 h 2344739"/>
              <a:gd name="connsiteX33" fmla="*/ 11157311 w 12193149"/>
              <a:gd name="connsiteY33" fmla="*/ 1312414 h 2344739"/>
              <a:gd name="connsiteX34" fmla="*/ 11155496 w 12193149"/>
              <a:gd name="connsiteY34" fmla="*/ 1317097 h 2344739"/>
              <a:gd name="connsiteX35" fmla="*/ 11140961 w 12193149"/>
              <a:gd name="connsiteY35" fmla="*/ 1324115 h 2344739"/>
              <a:gd name="connsiteX36" fmla="*/ 11138961 w 12193149"/>
              <a:gd name="connsiteY36" fmla="*/ 1323772 h 2344739"/>
              <a:gd name="connsiteX37" fmla="*/ 11128208 w 12193149"/>
              <a:gd name="connsiteY37" fmla="*/ 1333832 h 2344739"/>
              <a:gd name="connsiteX38" fmla="*/ 11120691 w 12193149"/>
              <a:gd name="connsiteY38" fmla="*/ 1347424 h 2344739"/>
              <a:gd name="connsiteX39" fmla="*/ 10894683 w 12193149"/>
              <a:gd name="connsiteY39" fmla="*/ 1473399 h 2344739"/>
              <a:gd name="connsiteX40" fmla="*/ 10773300 w 12193149"/>
              <a:gd name="connsiteY40" fmla="*/ 1523191 h 2344739"/>
              <a:gd name="connsiteX41" fmla="*/ 10627668 w 12193149"/>
              <a:gd name="connsiteY41" fmla="*/ 1559229 h 2344739"/>
              <a:gd name="connsiteX42" fmla="*/ 10581895 w 12193149"/>
              <a:gd name="connsiteY42" fmla="*/ 1568689 h 2344739"/>
              <a:gd name="connsiteX43" fmla="*/ 10547790 w 12193149"/>
              <a:gd name="connsiteY43" fmla="*/ 1598423 h 2344739"/>
              <a:gd name="connsiteX44" fmla="*/ 10529643 w 12193149"/>
              <a:gd name="connsiteY44" fmla="*/ 1596907 h 2344739"/>
              <a:gd name="connsiteX45" fmla="*/ 10526446 w 12193149"/>
              <a:gd name="connsiteY45" fmla="*/ 1596411 h 2344739"/>
              <a:gd name="connsiteX46" fmla="*/ 10515129 w 12193149"/>
              <a:gd name="connsiteY46" fmla="*/ 1599537 h 2344739"/>
              <a:gd name="connsiteX47" fmla="*/ 10491735 w 12193149"/>
              <a:gd name="connsiteY47" fmla="*/ 1594156 h 2344739"/>
              <a:gd name="connsiteX48" fmla="*/ 10471418 w 12193149"/>
              <a:gd name="connsiteY48" fmla="*/ 1601693 h 2344739"/>
              <a:gd name="connsiteX49" fmla="*/ 10377042 w 12193149"/>
              <a:gd name="connsiteY49" fmla="*/ 1644598 h 2344739"/>
              <a:gd name="connsiteX50" fmla="*/ 10319338 w 12193149"/>
              <a:gd name="connsiteY50" fmla="*/ 1666221 h 2344739"/>
              <a:gd name="connsiteX51" fmla="*/ 10295467 w 12193149"/>
              <a:gd name="connsiteY51" fmla="*/ 1668079 h 2344739"/>
              <a:gd name="connsiteX52" fmla="*/ 10263443 w 12193149"/>
              <a:gd name="connsiteY52" fmla="*/ 1674948 h 2344739"/>
              <a:gd name="connsiteX53" fmla="*/ 10205418 w 12193149"/>
              <a:gd name="connsiteY53" fmla="*/ 1682149 h 2344739"/>
              <a:gd name="connsiteX54" fmla="*/ 10177759 w 12193149"/>
              <a:gd name="connsiteY54" fmla="*/ 1692943 h 2344739"/>
              <a:gd name="connsiteX55" fmla="*/ 10165070 w 12193149"/>
              <a:gd name="connsiteY55" fmla="*/ 1693739 h 2344739"/>
              <a:gd name="connsiteX56" fmla="*/ 10156308 w 12193149"/>
              <a:gd name="connsiteY56" fmla="*/ 1707487 h 2344739"/>
              <a:gd name="connsiteX57" fmla="*/ 10118267 w 12193149"/>
              <a:gd name="connsiteY57" fmla="*/ 1731142 h 2344739"/>
              <a:gd name="connsiteX58" fmla="*/ 10101593 w 12193149"/>
              <a:gd name="connsiteY58" fmla="*/ 1742432 h 2344739"/>
              <a:gd name="connsiteX59" fmla="*/ 10083317 w 12193149"/>
              <a:gd name="connsiteY59" fmla="*/ 1743296 h 2344739"/>
              <a:gd name="connsiteX60" fmla="*/ 10040388 w 12193149"/>
              <a:gd name="connsiteY60" fmla="*/ 1741632 h 2344739"/>
              <a:gd name="connsiteX61" fmla="*/ 9961167 w 12193149"/>
              <a:gd name="connsiteY61" fmla="*/ 1757147 h 2344739"/>
              <a:gd name="connsiteX62" fmla="*/ 9848940 w 12193149"/>
              <a:gd name="connsiteY62" fmla="*/ 1763915 h 2344739"/>
              <a:gd name="connsiteX63" fmla="*/ 9729457 w 12193149"/>
              <a:gd name="connsiteY63" fmla="*/ 1784122 h 2344739"/>
              <a:gd name="connsiteX64" fmla="*/ 9585655 w 12193149"/>
              <a:gd name="connsiteY64" fmla="*/ 1795542 h 2344739"/>
              <a:gd name="connsiteX65" fmla="*/ 9338590 w 12193149"/>
              <a:gd name="connsiteY65" fmla="*/ 1869293 h 2344739"/>
              <a:gd name="connsiteX66" fmla="*/ 9232518 w 12193149"/>
              <a:gd name="connsiteY66" fmla="*/ 1893149 h 2344739"/>
              <a:gd name="connsiteX67" fmla="*/ 9156690 w 12193149"/>
              <a:gd name="connsiteY67" fmla="*/ 1903228 h 2344739"/>
              <a:gd name="connsiteX68" fmla="*/ 9054601 w 12193149"/>
              <a:gd name="connsiteY68" fmla="*/ 1910755 h 2344739"/>
              <a:gd name="connsiteX69" fmla="*/ 9006634 w 12193149"/>
              <a:gd name="connsiteY69" fmla="*/ 1914040 h 2344739"/>
              <a:gd name="connsiteX70" fmla="*/ 9006349 w 12193149"/>
              <a:gd name="connsiteY70" fmla="*/ 1913800 h 2344739"/>
              <a:gd name="connsiteX71" fmla="*/ 8997380 w 12193149"/>
              <a:gd name="connsiteY71" fmla="*/ 1915011 h 2344739"/>
              <a:gd name="connsiteX72" fmla="*/ 8991542 w 12193149"/>
              <a:gd name="connsiteY72" fmla="*/ 1917072 h 2344739"/>
              <a:gd name="connsiteX73" fmla="*/ 8975485 w 12193149"/>
              <a:gd name="connsiteY73" fmla="*/ 1920298 h 2344739"/>
              <a:gd name="connsiteX74" fmla="*/ 8969159 w 12193149"/>
              <a:gd name="connsiteY74" fmla="*/ 1919598 h 2344739"/>
              <a:gd name="connsiteX75" fmla="*/ 8964196 w 12193149"/>
              <a:gd name="connsiteY75" fmla="*/ 1917373 h 2344739"/>
              <a:gd name="connsiteX76" fmla="*/ 8930136 w 12193149"/>
              <a:gd name="connsiteY76" fmla="*/ 1914185 h 2344739"/>
              <a:gd name="connsiteX77" fmla="*/ 8753592 w 12193149"/>
              <a:gd name="connsiteY77" fmla="*/ 1933417 h 2344739"/>
              <a:gd name="connsiteX78" fmla="*/ 8708995 w 12193149"/>
              <a:gd name="connsiteY78" fmla="*/ 1935518 h 2344739"/>
              <a:gd name="connsiteX79" fmla="*/ 8597219 w 12193149"/>
              <a:gd name="connsiteY79" fmla="*/ 1944090 h 2344739"/>
              <a:gd name="connsiteX80" fmla="*/ 8526378 w 12193149"/>
              <a:gd name="connsiteY80" fmla="*/ 1929248 h 2344739"/>
              <a:gd name="connsiteX81" fmla="*/ 8512131 w 12193149"/>
              <a:gd name="connsiteY81" fmla="*/ 1935163 h 2344739"/>
              <a:gd name="connsiteX82" fmla="*/ 8507315 w 12193149"/>
              <a:gd name="connsiteY82" fmla="*/ 1938164 h 2344739"/>
              <a:gd name="connsiteX83" fmla="*/ 8499116 w 12193149"/>
              <a:gd name="connsiteY83" fmla="*/ 1940902 h 2344739"/>
              <a:gd name="connsiteX84" fmla="*/ 8498742 w 12193149"/>
              <a:gd name="connsiteY84" fmla="*/ 1940723 h 2344739"/>
              <a:gd name="connsiteX85" fmla="*/ 8491397 w 12193149"/>
              <a:gd name="connsiteY85" fmla="*/ 1943773 h 2344739"/>
              <a:gd name="connsiteX86" fmla="*/ 8368330 w 12193149"/>
              <a:gd name="connsiteY86" fmla="*/ 1957815 h 2344739"/>
              <a:gd name="connsiteX87" fmla="*/ 8354947 w 12193149"/>
              <a:gd name="connsiteY87" fmla="*/ 1958009 h 2344739"/>
              <a:gd name="connsiteX88" fmla="*/ 8321252 w 12193149"/>
              <a:gd name="connsiteY88" fmla="*/ 1974587 h 2344739"/>
              <a:gd name="connsiteX89" fmla="*/ 8315581 w 12193149"/>
              <a:gd name="connsiteY89" fmla="*/ 1974913 h 2344739"/>
              <a:gd name="connsiteX90" fmla="*/ 8296322 w 12193149"/>
              <a:gd name="connsiteY90" fmla="*/ 1988808 h 2344739"/>
              <a:gd name="connsiteX91" fmla="*/ 8285424 w 12193149"/>
              <a:gd name="connsiteY91" fmla="*/ 1994631 h 2344739"/>
              <a:gd name="connsiteX92" fmla="*/ 8284298 w 12193149"/>
              <a:gd name="connsiteY92" fmla="*/ 1999074 h 2344739"/>
              <a:gd name="connsiteX93" fmla="*/ 8267224 w 12193149"/>
              <a:gd name="connsiteY93" fmla="*/ 2006249 h 2344739"/>
              <a:gd name="connsiteX94" fmla="*/ 8264525 w 12193149"/>
              <a:gd name="connsiteY94" fmla="*/ 2006019 h 2344739"/>
              <a:gd name="connsiteX95" fmla="*/ 8253181 w 12193149"/>
              <a:gd name="connsiteY95" fmla="*/ 2015862 h 2344739"/>
              <a:gd name="connsiteX96" fmla="*/ 8246982 w 12193149"/>
              <a:gd name="connsiteY96" fmla="*/ 2028854 h 2344739"/>
              <a:gd name="connsiteX97" fmla="*/ 8091420 w 12193149"/>
              <a:gd name="connsiteY97" fmla="*/ 2075015 h 2344739"/>
              <a:gd name="connsiteX98" fmla="*/ 7906555 w 12193149"/>
              <a:gd name="connsiteY98" fmla="*/ 2116988 h 2344739"/>
              <a:gd name="connsiteX99" fmla="*/ 7719893 w 12193149"/>
              <a:gd name="connsiteY99" fmla="*/ 2142703 h 2344739"/>
              <a:gd name="connsiteX100" fmla="*/ 7615495 w 12193149"/>
              <a:gd name="connsiteY100" fmla="*/ 2139232 h 2344739"/>
              <a:gd name="connsiteX101" fmla="*/ 7528691 w 12193149"/>
              <a:gd name="connsiteY101" fmla="*/ 2145060 h 2344739"/>
              <a:gd name="connsiteX102" fmla="*/ 7520719 w 12193149"/>
              <a:gd name="connsiteY102" fmla="*/ 2147613 h 2344739"/>
              <a:gd name="connsiteX103" fmla="*/ 7508559 w 12193149"/>
              <a:gd name="connsiteY103" fmla="*/ 2148948 h 2344739"/>
              <a:gd name="connsiteX104" fmla="*/ 7508188 w 12193149"/>
              <a:gd name="connsiteY104" fmla="*/ 2148621 h 2344739"/>
              <a:gd name="connsiteX105" fmla="*/ 7496943 w 12193149"/>
              <a:gd name="connsiteY105" fmla="*/ 2150573 h 2344739"/>
              <a:gd name="connsiteX106" fmla="*/ 7406539 w 12193149"/>
              <a:gd name="connsiteY106" fmla="*/ 2142468 h 2344739"/>
              <a:gd name="connsiteX107" fmla="*/ 7219707 w 12193149"/>
              <a:gd name="connsiteY107" fmla="*/ 2156680 h 2344739"/>
              <a:gd name="connsiteX108" fmla="*/ 7202249 w 12193149"/>
              <a:gd name="connsiteY108" fmla="*/ 2161230 h 2344739"/>
              <a:gd name="connsiteX109" fmla="*/ 7198152 w 12193149"/>
              <a:gd name="connsiteY109" fmla="*/ 2166588 h 2344739"/>
              <a:gd name="connsiteX110" fmla="*/ 7171956 w 12193149"/>
              <a:gd name="connsiteY110" fmla="*/ 2171236 h 2344739"/>
              <a:gd name="connsiteX111" fmla="*/ 7098136 w 12193149"/>
              <a:gd name="connsiteY111" fmla="*/ 2183464 h 2344739"/>
              <a:gd name="connsiteX112" fmla="*/ 7019644 w 12193149"/>
              <a:gd name="connsiteY112" fmla="*/ 2183090 h 2344739"/>
              <a:gd name="connsiteX113" fmla="*/ 6905294 w 12193149"/>
              <a:gd name="connsiteY113" fmla="*/ 2212596 h 2344739"/>
              <a:gd name="connsiteX114" fmla="*/ 6709370 w 12193149"/>
              <a:gd name="connsiteY114" fmla="*/ 2240551 h 2344739"/>
              <a:gd name="connsiteX115" fmla="*/ 6550602 w 12193149"/>
              <a:gd name="connsiteY115" fmla="*/ 2269327 h 2344739"/>
              <a:gd name="connsiteX116" fmla="*/ 6318708 w 12193149"/>
              <a:gd name="connsiteY116" fmla="*/ 2316127 h 2344739"/>
              <a:gd name="connsiteX117" fmla="*/ 6169822 w 12193149"/>
              <a:gd name="connsiteY117" fmla="*/ 2318214 h 2344739"/>
              <a:gd name="connsiteX118" fmla="*/ 6074996 w 12193149"/>
              <a:gd name="connsiteY118" fmla="*/ 2338676 h 2344739"/>
              <a:gd name="connsiteX119" fmla="*/ 6069677 w 12193149"/>
              <a:gd name="connsiteY119" fmla="*/ 2337139 h 2344739"/>
              <a:gd name="connsiteX120" fmla="*/ 6049786 w 12193149"/>
              <a:gd name="connsiteY120" fmla="*/ 2337822 h 2344739"/>
              <a:gd name="connsiteX121" fmla="*/ 6042433 w 12193149"/>
              <a:gd name="connsiteY121" fmla="*/ 2329473 h 2344739"/>
              <a:gd name="connsiteX122" fmla="*/ 6011238 w 12193149"/>
              <a:gd name="connsiteY122" fmla="*/ 2324380 h 2344739"/>
              <a:gd name="connsiteX123" fmla="*/ 5958523 w 12193149"/>
              <a:gd name="connsiteY123" fmla="*/ 2328024 h 2344739"/>
              <a:gd name="connsiteX124" fmla="*/ 5760067 w 12193149"/>
              <a:gd name="connsiteY124" fmla="*/ 2343716 h 2344739"/>
              <a:gd name="connsiteX125" fmla="*/ 5628108 w 12193149"/>
              <a:gd name="connsiteY125" fmla="*/ 2344739 h 2344739"/>
              <a:gd name="connsiteX126" fmla="*/ 5472054 w 12193149"/>
              <a:gd name="connsiteY126" fmla="*/ 2330719 h 2344739"/>
              <a:gd name="connsiteX127" fmla="*/ 5433909 w 12193149"/>
              <a:gd name="connsiteY127" fmla="*/ 2319466 h 2344739"/>
              <a:gd name="connsiteX128" fmla="*/ 5382817 w 12193149"/>
              <a:gd name="connsiteY128" fmla="*/ 2301764 h 2344739"/>
              <a:gd name="connsiteX129" fmla="*/ 5262912 w 12193149"/>
              <a:gd name="connsiteY129" fmla="*/ 2281347 h 2344739"/>
              <a:gd name="connsiteX130" fmla="*/ 5224109 w 12193149"/>
              <a:gd name="connsiteY130" fmla="*/ 2270223 h 2344739"/>
              <a:gd name="connsiteX131" fmla="*/ 5175808 w 12193149"/>
              <a:gd name="connsiteY131" fmla="*/ 2267233 h 2344739"/>
              <a:gd name="connsiteX132" fmla="*/ 5157702 w 12193149"/>
              <a:gd name="connsiteY132" fmla="*/ 2260010 h 2344739"/>
              <a:gd name="connsiteX133" fmla="*/ 5143747 w 12193149"/>
              <a:gd name="connsiteY133" fmla="*/ 2256610 h 2344739"/>
              <a:gd name="connsiteX134" fmla="*/ 5140744 w 12193149"/>
              <a:gd name="connsiteY134" fmla="*/ 2254509 h 2344739"/>
              <a:gd name="connsiteX135" fmla="*/ 5122807 w 12193149"/>
              <a:gd name="connsiteY135" fmla="*/ 2243656 h 2344739"/>
              <a:gd name="connsiteX136" fmla="*/ 5066938 w 12193149"/>
              <a:gd name="connsiteY136" fmla="*/ 2250227 h 2344739"/>
              <a:gd name="connsiteX137" fmla="*/ 5012662 w 12193149"/>
              <a:gd name="connsiteY137" fmla="*/ 2233846 h 2344739"/>
              <a:gd name="connsiteX138" fmla="*/ 4841589 w 12193149"/>
              <a:gd name="connsiteY138" fmla="*/ 2209829 h 2344739"/>
              <a:gd name="connsiteX139" fmla="*/ 4763595 w 12193149"/>
              <a:gd name="connsiteY139" fmla="*/ 2182061 h 2344739"/>
              <a:gd name="connsiteX140" fmla="*/ 4724334 w 12193149"/>
              <a:gd name="connsiteY140" fmla="*/ 2173047 h 2344739"/>
              <a:gd name="connsiteX141" fmla="*/ 4722324 w 12193149"/>
              <a:gd name="connsiteY141" fmla="*/ 2172298 h 2344739"/>
              <a:gd name="connsiteX142" fmla="*/ 4723259 w 12193149"/>
              <a:gd name="connsiteY142" fmla="*/ 2172087 h 2344739"/>
              <a:gd name="connsiteX143" fmla="*/ 4718350 w 12193149"/>
              <a:gd name="connsiteY143" fmla="*/ 2170817 h 2344739"/>
              <a:gd name="connsiteX144" fmla="*/ 4722324 w 12193149"/>
              <a:gd name="connsiteY144" fmla="*/ 2172298 h 2344739"/>
              <a:gd name="connsiteX145" fmla="*/ 4716674 w 12193149"/>
              <a:gd name="connsiteY145" fmla="*/ 2173573 h 2344739"/>
              <a:gd name="connsiteX146" fmla="*/ 4516962 w 12193149"/>
              <a:gd name="connsiteY146" fmla="*/ 2163671 h 2344739"/>
              <a:gd name="connsiteX147" fmla="*/ 4429691 w 12193149"/>
              <a:gd name="connsiteY147" fmla="*/ 2153020 h 2344739"/>
              <a:gd name="connsiteX148" fmla="*/ 4364023 w 12193149"/>
              <a:gd name="connsiteY148" fmla="*/ 2151674 h 2344739"/>
              <a:gd name="connsiteX149" fmla="*/ 4318114 w 12193149"/>
              <a:gd name="connsiteY149" fmla="*/ 2158289 h 2344739"/>
              <a:gd name="connsiteX150" fmla="*/ 4316258 w 12193149"/>
              <a:gd name="connsiteY150" fmla="*/ 2156948 h 2344739"/>
              <a:gd name="connsiteX151" fmla="*/ 4296292 w 12193149"/>
              <a:gd name="connsiteY151" fmla="*/ 2155069 h 2344739"/>
              <a:gd name="connsiteX152" fmla="*/ 4291212 w 12193149"/>
              <a:gd name="connsiteY152" fmla="*/ 2157986 h 2344739"/>
              <a:gd name="connsiteX153" fmla="*/ 4277290 w 12193149"/>
              <a:gd name="connsiteY153" fmla="*/ 2157740 h 2344739"/>
              <a:gd name="connsiteX154" fmla="*/ 4249265 w 12193149"/>
              <a:gd name="connsiteY154" fmla="*/ 2160064 h 2344739"/>
              <a:gd name="connsiteX155" fmla="*/ 4203199 w 12193149"/>
              <a:gd name="connsiteY155" fmla="*/ 2157269 h 2344739"/>
              <a:gd name="connsiteX156" fmla="*/ 4202893 w 12193149"/>
              <a:gd name="connsiteY156" fmla="*/ 2156010 h 2344739"/>
              <a:gd name="connsiteX157" fmla="*/ 4192396 w 12193149"/>
              <a:gd name="connsiteY157" fmla="*/ 2150376 h 2344739"/>
              <a:gd name="connsiteX158" fmla="*/ 4143893 w 12193149"/>
              <a:gd name="connsiteY158" fmla="*/ 2134511 h 2344739"/>
              <a:gd name="connsiteX159" fmla="*/ 4084245 w 12193149"/>
              <a:gd name="connsiteY159" fmla="*/ 2107978 h 2344739"/>
              <a:gd name="connsiteX160" fmla="*/ 4075694 w 12193149"/>
              <a:gd name="connsiteY160" fmla="*/ 2107143 h 2344739"/>
              <a:gd name="connsiteX161" fmla="*/ 4075575 w 12193149"/>
              <a:gd name="connsiteY161" fmla="*/ 2106844 h 2344739"/>
              <a:gd name="connsiteX162" fmla="*/ 4066658 w 12193149"/>
              <a:gd name="connsiteY162" fmla="*/ 2105400 h 2344739"/>
              <a:gd name="connsiteX163" fmla="*/ 4060102 w 12193149"/>
              <a:gd name="connsiteY163" fmla="*/ 2105618 h 2344739"/>
              <a:gd name="connsiteX164" fmla="*/ 4043512 w 12193149"/>
              <a:gd name="connsiteY164" fmla="*/ 2103997 h 2344739"/>
              <a:gd name="connsiteX165" fmla="*/ 4038145 w 12193149"/>
              <a:gd name="connsiteY165" fmla="*/ 2101563 h 2344739"/>
              <a:gd name="connsiteX166" fmla="*/ 4036511 w 12193149"/>
              <a:gd name="connsiteY166" fmla="*/ 2097896 h 2344739"/>
              <a:gd name="connsiteX167" fmla="*/ 4034926 w 12193149"/>
              <a:gd name="connsiteY167" fmla="*/ 2098131 h 2344739"/>
              <a:gd name="connsiteX168" fmla="*/ 4005686 w 12193149"/>
              <a:gd name="connsiteY168" fmla="*/ 2085563 h 2344739"/>
              <a:gd name="connsiteX169" fmla="*/ 3937994 w 12193149"/>
              <a:gd name="connsiteY169" fmla="*/ 2068106 h 2344739"/>
              <a:gd name="connsiteX170" fmla="*/ 3898423 w 12193149"/>
              <a:gd name="connsiteY170" fmla="*/ 2062451 h 2344739"/>
              <a:gd name="connsiteX171" fmla="*/ 3790908 w 12193149"/>
              <a:gd name="connsiteY171" fmla="*/ 2042213 h 2344739"/>
              <a:gd name="connsiteX172" fmla="*/ 3683661 w 12193149"/>
              <a:gd name="connsiteY172" fmla="*/ 2018290 h 2344739"/>
              <a:gd name="connsiteX173" fmla="*/ 3611183 w 12193149"/>
              <a:gd name="connsiteY173" fmla="*/ 1986019 h 2344739"/>
              <a:gd name="connsiteX174" fmla="*/ 3605003 w 12193149"/>
              <a:gd name="connsiteY174" fmla="*/ 1987381 h 2344739"/>
              <a:gd name="connsiteX175" fmla="*/ 3595884 w 12193149"/>
              <a:gd name="connsiteY175" fmla="*/ 1987545 h 2344739"/>
              <a:gd name="connsiteX176" fmla="*/ 3595649 w 12193149"/>
              <a:gd name="connsiteY176" fmla="*/ 1987276 h 2344739"/>
              <a:gd name="connsiteX177" fmla="*/ 3587126 w 12193149"/>
              <a:gd name="connsiteY177" fmla="*/ 1987966 h 2344739"/>
              <a:gd name="connsiteX178" fmla="*/ 3537283 w 12193149"/>
              <a:gd name="connsiteY178" fmla="*/ 1978267 h 2344739"/>
              <a:gd name="connsiteX179" fmla="*/ 3474371 w 12193149"/>
              <a:gd name="connsiteY179" fmla="*/ 1974606 h 2344739"/>
              <a:gd name="connsiteX180" fmla="*/ 3401876 w 12193149"/>
              <a:gd name="connsiteY180" fmla="*/ 1962558 h 2344739"/>
              <a:gd name="connsiteX181" fmla="*/ 3365036 w 12193149"/>
              <a:gd name="connsiteY181" fmla="*/ 1979510 h 2344739"/>
              <a:gd name="connsiteX182" fmla="*/ 3345174 w 12193149"/>
              <a:gd name="connsiteY182" fmla="*/ 1981192 h 2344739"/>
              <a:gd name="connsiteX183" fmla="*/ 3342846 w 12193149"/>
              <a:gd name="connsiteY183" fmla="*/ 1980217 h 2344739"/>
              <a:gd name="connsiteX184" fmla="*/ 3263504 w 12193149"/>
              <a:gd name="connsiteY184" fmla="*/ 1986094 h 2344739"/>
              <a:gd name="connsiteX185" fmla="*/ 3143704 w 12193149"/>
              <a:gd name="connsiteY185" fmla="*/ 1993869 h 2344739"/>
              <a:gd name="connsiteX186" fmla="*/ 3031439 w 12193149"/>
              <a:gd name="connsiteY186" fmla="*/ 1996512 h 2344739"/>
              <a:gd name="connsiteX187" fmla="*/ 2782717 w 12193149"/>
              <a:gd name="connsiteY187" fmla="*/ 2018333 h 2344739"/>
              <a:gd name="connsiteX188" fmla="*/ 2647675 w 12193149"/>
              <a:gd name="connsiteY188" fmla="*/ 2028869 h 2344739"/>
              <a:gd name="connsiteX189" fmla="*/ 2569176 w 12193149"/>
              <a:gd name="connsiteY189" fmla="*/ 2002628 h 2344739"/>
              <a:gd name="connsiteX190" fmla="*/ 2444403 w 12193149"/>
              <a:gd name="connsiteY190" fmla="*/ 2016529 h 2344739"/>
              <a:gd name="connsiteX191" fmla="*/ 2316260 w 12193149"/>
              <a:gd name="connsiteY191" fmla="*/ 2024996 h 2344739"/>
              <a:gd name="connsiteX192" fmla="*/ 2209726 w 12193149"/>
              <a:gd name="connsiteY192" fmla="*/ 2019763 h 2344739"/>
              <a:gd name="connsiteX193" fmla="*/ 2095813 w 12193149"/>
              <a:gd name="connsiteY193" fmla="*/ 2003052 h 2344739"/>
              <a:gd name="connsiteX194" fmla="*/ 1998504 w 12193149"/>
              <a:gd name="connsiteY194" fmla="*/ 1995032 h 2344739"/>
              <a:gd name="connsiteX195" fmla="*/ 1929320 w 12193149"/>
              <a:gd name="connsiteY195" fmla="*/ 2016977 h 2344739"/>
              <a:gd name="connsiteX196" fmla="*/ 1922798 w 12193149"/>
              <a:gd name="connsiteY196" fmla="*/ 2012146 h 2344739"/>
              <a:gd name="connsiteX197" fmla="*/ 1874228 w 12193149"/>
              <a:gd name="connsiteY197" fmla="*/ 2013741 h 2344739"/>
              <a:gd name="connsiteX198" fmla="*/ 1787803 w 12193149"/>
              <a:gd name="connsiteY198" fmla="*/ 2041363 h 2344739"/>
              <a:gd name="connsiteX199" fmla="*/ 1739352 w 12193149"/>
              <a:gd name="connsiteY199" fmla="*/ 2036312 h 2344739"/>
              <a:gd name="connsiteX200" fmla="*/ 1676219 w 12193149"/>
              <a:gd name="connsiteY200" fmla="*/ 2019963 h 2344739"/>
              <a:gd name="connsiteX201" fmla="*/ 1609817 w 12193149"/>
              <a:gd name="connsiteY201" fmla="*/ 2013066 h 2344739"/>
              <a:gd name="connsiteX202" fmla="*/ 1497258 w 12193149"/>
              <a:gd name="connsiteY202" fmla="*/ 1987476 h 2344739"/>
              <a:gd name="connsiteX203" fmla="*/ 1151127 w 12193149"/>
              <a:gd name="connsiteY203" fmla="*/ 1938041 h 2344739"/>
              <a:gd name="connsiteX204" fmla="*/ 859417 w 12193149"/>
              <a:gd name="connsiteY204" fmla="*/ 1928608 h 2344739"/>
              <a:gd name="connsiteX205" fmla="*/ 838688 w 12193149"/>
              <a:gd name="connsiteY205" fmla="*/ 1929821 h 2344739"/>
              <a:gd name="connsiteX206" fmla="*/ 817957 w 12193149"/>
              <a:gd name="connsiteY206" fmla="*/ 1927857 h 2344739"/>
              <a:gd name="connsiteX207" fmla="*/ 812654 w 12193149"/>
              <a:gd name="connsiteY207" fmla="*/ 1930751 h 2344739"/>
              <a:gd name="connsiteX208" fmla="*/ 721195 w 12193149"/>
              <a:gd name="connsiteY208" fmla="*/ 1929661 h 2344739"/>
              <a:gd name="connsiteX209" fmla="*/ 720890 w 12193149"/>
              <a:gd name="connsiteY209" fmla="*/ 1928399 h 2344739"/>
              <a:gd name="connsiteX210" fmla="*/ 710023 w 12193149"/>
              <a:gd name="connsiteY210" fmla="*/ 1922722 h 2344739"/>
              <a:gd name="connsiteX211" fmla="*/ 597940 w 12193149"/>
              <a:gd name="connsiteY211" fmla="*/ 1879864 h 2344739"/>
              <a:gd name="connsiteX212" fmla="*/ 579683 w 12193149"/>
              <a:gd name="connsiteY212" fmla="*/ 1877212 h 2344739"/>
              <a:gd name="connsiteX213" fmla="*/ 572865 w 12193149"/>
              <a:gd name="connsiteY213" fmla="*/ 1877401 h 2344739"/>
              <a:gd name="connsiteX214" fmla="*/ 446247 w 12193149"/>
              <a:gd name="connsiteY214" fmla="*/ 1839371 h 2344739"/>
              <a:gd name="connsiteX215" fmla="*/ 405163 w 12193149"/>
              <a:gd name="connsiteY215" fmla="*/ 1833548 h 2344739"/>
              <a:gd name="connsiteX216" fmla="*/ 293583 w 12193149"/>
              <a:gd name="connsiteY216" fmla="*/ 1812852 h 2344739"/>
              <a:gd name="connsiteX217" fmla="*/ 119529 w 12193149"/>
              <a:gd name="connsiteY217" fmla="*/ 1761047 h 2344739"/>
              <a:gd name="connsiteX218" fmla="*/ 16674 w 12193149"/>
              <a:gd name="connsiteY218" fmla="*/ 1758191 h 2344739"/>
              <a:gd name="connsiteX219" fmla="*/ 1150 w 12193149"/>
              <a:gd name="connsiteY219" fmla="*/ 1752722 h 2344739"/>
              <a:gd name="connsiteX220" fmla="*/ 1148 w 12193149"/>
              <a:gd name="connsiteY220" fmla="*/ 222213 h 2344739"/>
              <a:gd name="connsiteX221" fmla="*/ 1148 w 12193149"/>
              <a:gd name="connsiteY221"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749767 w 12193149"/>
              <a:gd name="connsiteY23" fmla="*/ 872002 h 2344739"/>
              <a:gd name="connsiteX24" fmla="*/ 11590693 w 12193149"/>
              <a:gd name="connsiteY24" fmla="*/ 963777 h 2344739"/>
              <a:gd name="connsiteX25" fmla="*/ 11506817 w 12193149"/>
              <a:gd name="connsiteY25" fmla="*/ 1033623 h 2344739"/>
              <a:gd name="connsiteX26" fmla="*/ 11280332 w 12193149"/>
              <a:gd name="connsiteY26" fmla="*/ 1223571 h 2344739"/>
              <a:gd name="connsiteX27" fmla="*/ 11228309 w 12193149"/>
              <a:gd name="connsiteY27" fmla="*/ 1276236 h 2344739"/>
              <a:gd name="connsiteX28" fmla="*/ 11218087 w 12193149"/>
              <a:gd name="connsiteY28" fmla="*/ 1275961 h 2344739"/>
              <a:gd name="connsiteX29" fmla="*/ 11217184 w 12193149"/>
              <a:gd name="connsiteY29" fmla="*/ 1275018 h 2344739"/>
              <a:gd name="connsiteX30" fmla="*/ 11188885 w 12193149"/>
              <a:gd name="connsiteY30" fmla="*/ 1292383 h 2344739"/>
              <a:gd name="connsiteX31" fmla="*/ 11184501 w 12193149"/>
              <a:gd name="connsiteY31" fmla="*/ 1292525 h 2344739"/>
              <a:gd name="connsiteX32" fmla="*/ 11166854 w 12193149"/>
              <a:gd name="connsiteY32" fmla="*/ 1306612 h 2344739"/>
              <a:gd name="connsiteX33" fmla="*/ 11157311 w 12193149"/>
              <a:gd name="connsiteY33" fmla="*/ 1312414 h 2344739"/>
              <a:gd name="connsiteX34" fmla="*/ 11155496 w 12193149"/>
              <a:gd name="connsiteY34" fmla="*/ 1317097 h 2344739"/>
              <a:gd name="connsiteX35" fmla="*/ 11140961 w 12193149"/>
              <a:gd name="connsiteY35" fmla="*/ 1324115 h 2344739"/>
              <a:gd name="connsiteX36" fmla="*/ 11138961 w 12193149"/>
              <a:gd name="connsiteY36" fmla="*/ 1323772 h 2344739"/>
              <a:gd name="connsiteX37" fmla="*/ 11128208 w 12193149"/>
              <a:gd name="connsiteY37" fmla="*/ 1333832 h 2344739"/>
              <a:gd name="connsiteX38" fmla="*/ 11120691 w 12193149"/>
              <a:gd name="connsiteY38" fmla="*/ 1347424 h 2344739"/>
              <a:gd name="connsiteX39" fmla="*/ 10894683 w 12193149"/>
              <a:gd name="connsiteY39" fmla="*/ 1473399 h 2344739"/>
              <a:gd name="connsiteX40" fmla="*/ 10773300 w 12193149"/>
              <a:gd name="connsiteY40" fmla="*/ 1523191 h 2344739"/>
              <a:gd name="connsiteX41" fmla="*/ 10627668 w 12193149"/>
              <a:gd name="connsiteY41" fmla="*/ 1559229 h 2344739"/>
              <a:gd name="connsiteX42" fmla="*/ 10581895 w 12193149"/>
              <a:gd name="connsiteY42" fmla="*/ 1568689 h 2344739"/>
              <a:gd name="connsiteX43" fmla="*/ 10547790 w 12193149"/>
              <a:gd name="connsiteY43" fmla="*/ 1598423 h 2344739"/>
              <a:gd name="connsiteX44" fmla="*/ 10529643 w 12193149"/>
              <a:gd name="connsiteY44" fmla="*/ 1596907 h 2344739"/>
              <a:gd name="connsiteX45" fmla="*/ 10526446 w 12193149"/>
              <a:gd name="connsiteY45" fmla="*/ 1596411 h 2344739"/>
              <a:gd name="connsiteX46" fmla="*/ 10515129 w 12193149"/>
              <a:gd name="connsiteY46" fmla="*/ 1599537 h 2344739"/>
              <a:gd name="connsiteX47" fmla="*/ 10491735 w 12193149"/>
              <a:gd name="connsiteY47" fmla="*/ 1594156 h 2344739"/>
              <a:gd name="connsiteX48" fmla="*/ 10471418 w 12193149"/>
              <a:gd name="connsiteY48" fmla="*/ 1601693 h 2344739"/>
              <a:gd name="connsiteX49" fmla="*/ 10377042 w 12193149"/>
              <a:gd name="connsiteY49" fmla="*/ 1644598 h 2344739"/>
              <a:gd name="connsiteX50" fmla="*/ 10319338 w 12193149"/>
              <a:gd name="connsiteY50" fmla="*/ 1666221 h 2344739"/>
              <a:gd name="connsiteX51" fmla="*/ 10295467 w 12193149"/>
              <a:gd name="connsiteY51" fmla="*/ 1668079 h 2344739"/>
              <a:gd name="connsiteX52" fmla="*/ 10263443 w 12193149"/>
              <a:gd name="connsiteY52" fmla="*/ 1674948 h 2344739"/>
              <a:gd name="connsiteX53" fmla="*/ 10205418 w 12193149"/>
              <a:gd name="connsiteY53" fmla="*/ 1682149 h 2344739"/>
              <a:gd name="connsiteX54" fmla="*/ 10177759 w 12193149"/>
              <a:gd name="connsiteY54" fmla="*/ 1692943 h 2344739"/>
              <a:gd name="connsiteX55" fmla="*/ 10165070 w 12193149"/>
              <a:gd name="connsiteY55" fmla="*/ 1693739 h 2344739"/>
              <a:gd name="connsiteX56" fmla="*/ 10156308 w 12193149"/>
              <a:gd name="connsiteY56" fmla="*/ 1707487 h 2344739"/>
              <a:gd name="connsiteX57" fmla="*/ 10118267 w 12193149"/>
              <a:gd name="connsiteY57" fmla="*/ 1731142 h 2344739"/>
              <a:gd name="connsiteX58" fmla="*/ 10083317 w 12193149"/>
              <a:gd name="connsiteY58" fmla="*/ 1743296 h 2344739"/>
              <a:gd name="connsiteX59" fmla="*/ 10040388 w 12193149"/>
              <a:gd name="connsiteY59" fmla="*/ 1741632 h 2344739"/>
              <a:gd name="connsiteX60" fmla="*/ 9961167 w 12193149"/>
              <a:gd name="connsiteY60" fmla="*/ 1757147 h 2344739"/>
              <a:gd name="connsiteX61" fmla="*/ 9848940 w 12193149"/>
              <a:gd name="connsiteY61" fmla="*/ 1763915 h 2344739"/>
              <a:gd name="connsiteX62" fmla="*/ 9729457 w 12193149"/>
              <a:gd name="connsiteY62" fmla="*/ 1784122 h 2344739"/>
              <a:gd name="connsiteX63" fmla="*/ 9585655 w 12193149"/>
              <a:gd name="connsiteY63" fmla="*/ 1795542 h 2344739"/>
              <a:gd name="connsiteX64" fmla="*/ 9338590 w 12193149"/>
              <a:gd name="connsiteY64" fmla="*/ 1869293 h 2344739"/>
              <a:gd name="connsiteX65" fmla="*/ 9232518 w 12193149"/>
              <a:gd name="connsiteY65" fmla="*/ 1893149 h 2344739"/>
              <a:gd name="connsiteX66" fmla="*/ 9156690 w 12193149"/>
              <a:gd name="connsiteY66" fmla="*/ 1903228 h 2344739"/>
              <a:gd name="connsiteX67" fmla="*/ 9054601 w 12193149"/>
              <a:gd name="connsiteY67" fmla="*/ 1910755 h 2344739"/>
              <a:gd name="connsiteX68" fmla="*/ 9006634 w 12193149"/>
              <a:gd name="connsiteY68" fmla="*/ 1914040 h 2344739"/>
              <a:gd name="connsiteX69" fmla="*/ 9006349 w 12193149"/>
              <a:gd name="connsiteY69" fmla="*/ 1913800 h 2344739"/>
              <a:gd name="connsiteX70" fmla="*/ 8997380 w 12193149"/>
              <a:gd name="connsiteY70" fmla="*/ 1915011 h 2344739"/>
              <a:gd name="connsiteX71" fmla="*/ 8991542 w 12193149"/>
              <a:gd name="connsiteY71" fmla="*/ 1917072 h 2344739"/>
              <a:gd name="connsiteX72" fmla="*/ 8975485 w 12193149"/>
              <a:gd name="connsiteY72" fmla="*/ 1920298 h 2344739"/>
              <a:gd name="connsiteX73" fmla="*/ 8969159 w 12193149"/>
              <a:gd name="connsiteY73" fmla="*/ 1919598 h 2344739"/>
              <a:gd name="connsiteX74" fmla="*/ 8964196 w 12193149"/>
              <a:gd name="connsiteY74" fmla="*/ 1917373 h 2344739"/>
              <a:gd name="connsiteX75" fmla="*/ 8930136 w 12193149"/>
              <a:gd name="connsiteY75" fmla="*/ 1914185 h 2344739"/>
              <a:gd name="connsiteX76" fmla="*/ 8753592 w 12193149"/>
              <a:gd name="connsiteY76" fmla="*/ 1933417 h 2344739"/>
              <a:gd name="connsiteX77" fmla="*/ 8708995 w 12193149"/>
              <a:gd name="connsiteY77" fmla="*/ 1935518 h 2344739"/>
              <a:gd name="connsiteX78" fmla="*/ 8597219 w 12193149"/>
              <a:gd name="connsiteY78" fmla="*/ 1944090 h 2344739"/>
              <a:gd name="connsiteX79" fmla="*/ 8526378 w 12193149"/>
              <a:gd name="connsiteY79" fmla="*/ 1929248 h 2344739"/>
              <a:gd name="connsiteX80" fmla="*/ 8512131 w 12193149"/>
              <a:gd name="connsiteY80" fmla="*/ 1935163 h 2344739"/>
              <a:gd name="connsiteX81" fmla="*/ 8507315 w 12193149"/>
              <a:gd name="connsiteY81" fmla="*/ 1938164 h 2344739"/>
              <a:gd name="connsiteX82" fmla="*/ 8499116 w 12193149"/>
              <a:gd name="connsiteY82" fmla="*/ 1940902 h 2344739"/>
              <a:gd name="connsiteX83" fmla="*/ 8498742 w 12193149"/>
              <a:gd name="connsiteY83" fmla="*/ 1940723 h 2344739"/>
              <a:gd name="connsiteX84" fmla="*/ 8491397 w 12193149"/>
              <a:gd name="connsiteY84" fmla="*/ 1943773 h 2344739"/>
              <a:gd name="connsiteX85" fmla="*/ 8368330 w 12193149"/>
              <a:gd name="connsiteY85" fmla="*/ 1957815 h 2344739"/>
              <a:gd name="connsiteX86" fmla="*/ 8354947 w 12193149"/>
              <a:gd name="connsiteY86" fmla="*/ 1958009 h 2344739"/>
              <a:gd name="connsiteX87" fmla="*/ 8321252 w 12193149"/>
              <a:gd name="connsiteY87" fmla="*/ 1974587 h 2344739"/>
              <a:gd name="connsiteX88" fmla="*/ 8315581 w 12193149"/>
              <a:gd name="connsiteY88" fmla="*/ 1974913 h 2344739"/>
              <a:gd name="connsiteX89" fmla="*/ 8296322 w 12193149"/>
              <a:gd name="connsiteY89" fmla="*/ 1988808 h 2344739"/>
              <a:gd name="connsiteX90" fmla="*/ 8285424 w 12193149"/>
              <a:gd name="connsiteY90" fmla="*/ 1994631 h 2344739"/>
              <a:gd name="connsiteX91" fmla="*/ 8284298 w 12193149"/>
              <a:gd name="connsiteY91" fmla="*/ 1999074 h 2344739"/>
              <a:gd name="connsiteX92" fmla="*/ 8267224 w 12193149"/>
              <a:gd name="connsiteY92" fmla="*/ 2006249 h 2344739"/>
              <a:gd name="connsiteX93" fmla="*/ 8264525 w 12193149"/>
              <a:gd name="connsiteY93" fmla="*/ 2006019 h 2344739"/>
              <a:gd name="connsiteX94" fmla="*/ 8253181 w 12193149"/>
              <a:gd name="connsiteY94" fmla="*/ 2015862 h 2344739"/>
              <a:gd name="connsiteX95" fmla="*/ 8246982 w 12193149"/>
              <a:gd name="connsiteY95" fmla="*/ 2028854 h 2344739"/>
              <a:gd name="connsiteX96" fmla="*/ 8091420 w 12193149"/>
              <a:gd name="connsiteY96" fmla="*/ 2075015 h 2344739"/>
              <a:gd name="connsiteX97" fmla="*/ 7906555 w 12193149"/>
              <a:gd name="connsiteY97" fmla="*/ 2116988 h 2344739"/>
              <a:gd name="connsiteX98" fmla="*/ 7719893 w 12193149"/>
              <a:gd name="connsiteY98" fmla="*/ 2142703 h 2344739"/>
              <a:gd name="connsiteX99" fmla="*/ 7615495 w 12193149"/>
              <a:gd name="connsiteY99" fmla="*/ 2139232 h 2344739"/>
              <a:gd name="connsiteX100" fmla="*/ 7528691 w 12193149"/>
              <a:gd name="connsiteY100" fmla="*/ 2145060 h 2344739"/>
              <a:gd name="connsiteX101" fmla="*/ 7520719 w 12193149"/>
              <a:gd name="connsiteY101" fmla="*/ 2147613 h 2344739"/>
              <a:gd name="connsiteX102" fmla="*/ 7508559 w 12193149"/>
              <a:gd name="connsiteY102" fmla="*/ 2148948 h 2344739"/>
              <a:gd name="connsiteX103" fmla="*/ 7508188 w 12193149"/>
              <a:gd name="connsiteY103" fmla="*/ 2148621 h 2344739"/>
              <a:gd name="connsiteX104" fmla="*/ 7496943 w 12193149"/>
              <a:gd name="connsiteY104" fmla="*/ 2150573 h 2344739"/>
              <a:gd name="connsiteX105" fmla="*/ 7406539 w 12193149"/>
              <a:gd name="connsiteY105" fmla="*/ 2142468 h 2344739"/>
              <a:gd name="connsiteX106" fmla="*/ 7219707 w 12193149"/>
              <a:gd name="connsiteY106" fmla="*/ 2156680 h 2344739"/>
              <a:gd name="connsiteX107" fmla="*/ 7202249 w 12193149"/>
              <a:gd name="connsiteY107" fmla="*/ 2161230 h 2344739"/>
              <a:gd name="connsiteX108" fmla="*/ 7198152 w 12193149"/>
              <a:gd name="connsiteY108" fmla="*/ 2166588 h 2344739"/>
              <a:gd name="connsiteX109" fmla="*/ 7171956 w 12193149"/>
              <a:gd name="connsiteY109" fmla="*/ 2171236 h 2344739"/>
              <a:gd name="connsiteX110" fmla="*/ 7098136 w 12193149"/>
              <a:gd name="connsiteY110" fmla="*/ 2183464 h 2344739"/>
              <a:gd name="connsiteX111" fmla="*/ 7019644 w 12193149"/>
              <a:gd name="connsiteY111" fmla="*/ 2183090 h 2344739"/>
              <a:gd name="connsiteX112" fmla="*/ 6905294 w 12193149"/>
              <a:gd name="connsiteY112" fmla="*/ 2212596 h 2344739"/>
              <a:gd name="connsiteX113" fmla="*/ 6709370 w 12193149"/>
              <a:gd name="connsiteY113" fmla="*/ 2240551 h 2344739"/>
              <a:gd name="connsiteX114" fmla="*/ 6550602 w 12193149"/>
              <a:gd name="connsiteY114" fmla="*/ 2269327 h 2344739"/>
              <a:gd name="connsiteX115" fmla="*/ 6318708 w 12193149"/>
              <a:gd name="connsiteY115" fmla="*/ 2316127 h 2344739"/>
              <a:gd name="connsiteX116" fmla="*/ 6169822 w 12193149"/>
              <a:gd name="connsiteY116" fmla="*/ 2318214 h 2344739"/>
              <a:gd name="connsiteX117" fmla="*/ 6074996 w 12193149"/>
              <a:gd name="connsiteY117" fmla="*/ 2338676 h 2344739"/>
              <a:gd name="connsiteX118" fmla="*/ 6069677 w 12193149"/>
              <a:gd name="connsiteY118" fmla="*/ 2337139 h 2344739"/>
              <a:gd name="connsiteX119" fmla="*/ 6049786 w 12193149"/>
              <a:gd name="connsiteY119" fmla="*/ 2337822 h 2344739"/>
              <a:gd name="connsiteX120" fmla="*/ 6042433 w 12193149"/>
              <a:gd name="connsiteY120" fmla="*/ 2329473 h 2344739"/>
              <a:gd name="connsiteX121" fmla="*/ 6011238 w 12193149"/>
              <a:gd name="connsiteY121" fmla="*/ 2324380 h 2344739"/>
              <a:gd name="connsiteX122" fmla="*/ 5958523 w 12193149"/>
              <a:gd name="connsiteY122" fmla="*/ 2328024 h 2344739"/>
              <a:gd name="connsiteX123" fmla="*/ 5760067 w 12193149"/>
              <a:gd name="connsiteY123" fmla="*/ 2343716 h 2344739"/>
              <a:gd name="connsiteX124" fmla="*/ 5628108 w 12193149"/>
              <a:gd name="connsiteY124" fmla="*/ 2344739 h 2344739"/>
              <a:gd name="connsiteX125" fmla="*/ 5472054 w 12193149"/>
              <a:gd name="connsiteY125" fmla="*/ 2330719 h 2344739"/>
              <a:gd name="connsiteX126" fmla="*/ 5433909 w 12193149"/>
              <a:gd name="connsiteY126" fmla="*/ 2319466 h 2344739"/>
              <a:gd name="connsiteX127" fmla="*/ 5382817 w 12193149"/>
              <a:gd name="connsiteY127" fmla="*/ 2301764 h 2344739"/>
              <a:gd name="connsiteX128" fmla="*/ 5262912 w 12193149"/>
              <a:gd name="connsiteY128" fmla="*/ 2281347 h 2344739"/>
              <a:gd name="connsiteX129" fmla="*/ 5224109 w 12193149"/>
              <a:gd name="connsiteY129" fmla="*/ 2270223 h 2344739"/>
              <a:gd name="connsiteX130" fmla="*/ 5175808 w 12193149"/>
              <a:gd name="connsiteY130" fmla="*/ 2267233 h 2344739"/>
              <a:gd name="connsiteX131" fmla="*/ 5157702 w 12193149"/>
              <a:gd name="connsiteY131" fmla="*/ 2260010 h 2344739"/>
              <a:gd name="connsiteX132" fmla="*/ 5143747 w 12193149"/>
              <a:gd name="connsiteY132" fmla="*/ 2256610 h 2344739"/>
              <a:gd name="connsiteX133" fmla="*/ 5140744 w 12193149"/>
              <a:gd name="connsiteY133" fmla="*/ 2254509 h 2344739"/>
              <a:gd name="connsiteX134" fmla="*/ 5122807 w 12193149"/>
              <a:gd name="connsiteY134" fmla="*/ 2243656 h 2344739"/>
              <a:gd name="connsiteX135" fmla="*/ 5066938 w 12193149"/>
              <a:gd name="connsiteY135" fmla="*/ 2250227 h 2344739"/>
              <a:gd name="connsiteX136" fmla="*/ 5012662 w 12193149"/>
              <a:gd name="connsiteY136" fmla="*/ 2233846 h 2344739"/>
              <a:gd name="connsiteX137" fmla="*/ 4841589 w 12193149"/>
              <a:gd name="connsiteY137" fmla="*/ 2209829 h 2344739"/>
              <a:gd name="connsiteX138" fmla="*/ 4763595 w 12193149"/>
              <a:gd name="connsiteY138" fmla="*/ 2182061 h 2344739"/>
              <a:gd name="connsiteX139" fmla="*/ 4724334 w 12193149"/>
              <a:gd name="connsiteY139" fmla="*/ 2173047 h 2344739"/>
              <a:gd name="connsiteX140" fmla="*/ 4722324 w 12193149"/>
              <a:gd name="connsiteY140" fmla="*/ 2172298 h 2344739"/>
              <a:gd name="connsiteX141" fmla="*/ 4723259 w 12193149"/>
              <a:gd name="connsiteY141" fmla="*/ 2172087 h 2344739"/>
              <a:gd name="connsiteX142" fmla="*/ 4718350 w 12193149"/>
              <a:gd name="connsiteY142" fmla="*/ 2170817 h 2344739"/>
              <a:gd name="connsiteX143" fmla="*/ 4722324 w 12193149"/>
              <a:gd name="connsiteY143" fmla="*/ 2172298 h 2344739"/>
              <a:gd name="connsiteX144" fmla="*/ 4716674 w 12193149"/>
              <a:gd name="connsiteY144" fmla="*/ 2173573 h 2344739"/>
              <a:gd name="connsiteX145" fmla="*/ 4516962 w 12193149"/>
              <a:gd name="connsiteY145" fmla="*/ 2163671 h 2344739"/>
              <a:gd name="connsiteX146" fmla="*/ 4429691 w 12193149"/>
              <a:gd name="connsiteY146" fmla="*/ 2153020 h 2344739"/>
              <a:gd name="connsiteX147" fmla="*/ 4364023 w 12193149"/>
              <a:gd name="connsiteY147" fmla="*/ 2151674 h 2344739"/>
              <a:gd name="connsiteX148" fmla="*/ 4318114 w 12193149"/>
              <a:gd name="connsiteY148" fmla="*/ 2158289 h 2344739"/>
              <a:gd name="connsiteX149" fmla="*/ 4316258 w 12193149"/>
              <a:gd name="connsiteY149" fmla="*/ 2156948 h 2344739"/>
              <a:gd name="connsiteX150" fmla="*/ 4296292 w 12193149"/>
              <a:gd name="connsiteY150" fmla="*/ 2155069 h 2344739"/>
              <a:gd name="connsiteX151" fmla="*/ 4291212 w 12193149"/>
              <a:gd name="connsiteY151" fmla="*/ 2157986 h 2344739"/>
              <a:gd name="connsiteX152" fmla="*/ 4277290 w 12193149"/>
              <a:gd name="connsiteY152" fmla="*/ 2157740 h 2344739"/>
              <a:gd name="connsiteX153" fmla="*/ 4249265 w 12193149"/>
              <a:gd name="connsiteY153" fmla="*/ 2160064 h 2344739"/>
              <a:gd name="connsiteX154" fmla="*/ 4203199 w 12193149"/>
              <a:gd name="connsiteY154" fmla="*/ 2157269 h 2344739"/>
              <a:gd name="connsiteX155" fmla="*/ 4202893 w 12193149"/>
              <a:gd name="connsiteY155" fmla="*/ 2156010 h 2344739"/>
              <a:gd name="connsiteX156" fmla="*/ 4192396 w 12193149"/>
              <a:gd name="connsiteY156" fmla="*/ 2150376 h 2344739"/>
              <a:gd name="connsiteX157" fmla="*/ 4143893 w 12193149"/>
              <a:gd name="connsiteY157" fmla="*/ 2134511 h 2344739"/>
              <a:gd name="connsiteX158" fmla="*/ 4084245 w 12193149"/>
              <a:gd name="connsiteY158" fmla="*/ 2107978 h 2344739"/>
              <a:gd name="connsiteX159" fmla="*/ 4075694 w 12193149"/>
              <a:gd name="connsiteY159" fmla="*/ 2107143 h 2344739"/>
              <a:gd name="connsiteX160" fmla="*/ 4075575 w 12193149"/>
              <a:gd name="connsiteY160" fmla="*/ 2106844 h 2344739"/>
              <a:gd name="connsiteX161" fmla="*/ 4066658 w 12193149"/>
              <a:gd name="connsiteY161" fmla="*/ 2105400 h 2344739"/>
              <a:gd name="connsiteX162" fmla="*/ 4060102 w 12193149"/>
              <a:gd name="connsiteY162" fmla="*/ 2105618 h 2344739"/>
              <a:gd name="connsiteX163" fmla="*/ 4043512 w 12193149"/>
              <a:gd name="connsiteY163" fmla="*/ 2103997 h 2344739"/>
              <a:gd name="connsiteX164" fmla="*/ 4038145 w 12193149"/>
              <a:gd name="connsiteY164" fmla="*/ 2101563 h 2344739"/>
              <a:gd name="connsiteX165" fmla="*/ 4036511 w 12193149"/>
              <a:gd name="connsiteY165" fmla="*/ 2097896 h 2344739"/>
              <a:gd name="connsiteX166" fmla="*/ 4034926 w 12193149"/>
              <a:gd name="connsiteY166" fmla="*/ 2098131 h 2344739"/>
              <a:gd name="connsiteX167" fmla="*/ 4005686 w 12193149"/>
              <a:gd name="connsiteY167" fmla="*/ 2085563 h 2344739"/>
              <a:gd name="connsiteX168" fmla="*/ 3937994 w 12193149"/>
              <a:gd name="connsiteY168" fmla="*/ 2068106 h 2344739"/>
              <a:gd name="connsiteX169" fmla="*/ 3898423 w 12193149"/>
              <a:gd name="connsiteY169" fmla="*/ 2062451 h 2344739"/>
              <a:gd name="connsiteX170" fmla="*/ 3790908 w 12193149"/>
              <a:gd name="connsiteY170" fmla="*/ 2042213 h 2344739"/>
              <a:gd name="connsiteX171" fmla="*/ 3683661 w 12193149"/>
              <a:gd name="connsiteY171" fmla="*/ 2018290 h 2344739"/>
              <a:gd name="connsiteX172" fmla="*/ 3611183 w 12193149"/>
              <a:gd name="connsiteY172" fmla="*/ 1986019 h 2344739"/>
              <a:gd name="connsiteX173" fmla="*/ 3605003 w 12193149"/>
              <a:gd name="connsiteY173" fmla="*/ 1987381 h 2344739"/>
              <a:gd name="connsiteX174" fmla="*/ 3595884 w 12193149"/>
              <a:gd name="connsiteY174" fmla="*/ 1987545 h 2344739"/>
              <a:gd name="connsiteX175" fmla="*/ 3595649 w 12193149"/>
              <a:gd name="connsiteY175" fmla="*/ 1987276 h 2344739"/>
              <a:gd name="connsiteX176" fmla="*/ 3587126 w 12193149"/>
              <a:gd name="connsiteY176" fmla="*/ 1987966 h 2344739"/>
              <a:gd name="connsiteX177" fmla="*/ 3537283 w 12193149"/>
              <a:gd name="connsiteY177" fmla="*/ 1978267 h 2344739"/>
              <a:gd name="connsiteX178" fmla="*/ 3474371 w 12193149"/>
              <a:gd name="connsiteY178" fmla="*/ 1974606 h 2344739"/>
              <a:gd name="connsiteX179" fmla="*/ 3401876 w 12193149"/>
              <a:gd name="connsiteY179" fmla="*/ 1962558 h 2344739"/>
              <a:gd name="connsiteX180" fmla="*/ 3365036 w 12193149"/>
              <a:gd name="connsiteY180" fmla="*/ 1979510 h 2344739"/>
              <a:gd name="connsiteX181" fmla="*/ 3345174 w 12193149"/>
              <a:gd name="connsiteY181" fmla="*/ 1981192 h 2344739"/>
              <a:gd name="connsiteX182" fmla="*/ 3342846 w 12193149"/>
              <a:gd name="connsiteY182" fmla="*/ 1980217 h 2344739"/>
              <a:gd name="connsiteX183" fmla="*/ 3263504 w 12193149"/>
              <a:gd name="connsiteY183" fmla="*/ 1986094 h 2344739"/>
              <a:gd name="connsiteX184" fmla="*/ 3143704 w 12193149"/>
              <a:gd name="connsiteY184" fmla="*/ 1993869 h 2344739"/>
              <a:gd name="connsiteX185" fmla="*/ 3031439 w 12193149"/>
              <a:gd name="connsiteY185" fmla="*/ 1996512 h 2344739"/>
              <a:gd name="connsiteX186" fmla="*/ 2782717 w 12193149"/>
              <a:gd name="connsiteY186" fmla="*/ 2018333 h 2344739"/>
              <a:gd name="connsiteX187" fmla="*/ 2647675 w 12193149"/>
              <a:gd name="connsiteY187" fmla="*/ 2028869 h 2344739"/>
              <a:gd name="connsiteX188" fmla="*/ 2569176 w 12193149"/>
              <a:gd name="connsiteY188" fmla="*/ 2002628 h 2344739"/>
              <a:gd name="connsiteX189" fmla="*/ 2444403 w 12193149"/>
              <a:gd name="connsiteY189" fmla="*/ 2016529 h 2344739"/>
              <a:gd name="connsiteX190" fmla="*/ 2316260 w 12193149"/>
              <a:gd name="connsiteY190" fmla="*/ 2024996 h 2344739"/>
              <a:gd name="connsiteX191" fmla="*/ 2209726 w 12193149"/>
              <a:gd name="connsiteY191" fmla="*/ 2019763 h 2344739"/>
              <a:gd name="connsiteX192" fmla="*/ 2095813 w 12193149"/>
              <a:gd name="connsiteY192" fmla="*/ 2003052 h 2344739"/>
              <a:gd name="connsiteX193" fmla="*/ 1998504 w 12193149"/>
              <a:gd name="connsiteY193" fmla="*/ 1995032 h 2344739"/>
              <a:gd name="connsiteX194" fmla="*/ 1929320 w 12193149"/>
              <a:gd name="connsiteY194" fmla="*/ 2016977 h 2344739"/>
              <a:gd name="connsiteX195" fmla="*/ 1922798 w 12193149"/>
              <a:gd name="connsiteY195" fmla="*/ 2012146 h 2344739"/>
              <a:gd name="connsiteX196" fmla="*/ 1874228 w 12193149"/>
              <a:gd name="connsiteY196" fmla="*/ 2013741 h 2344739"/>
              <a:gd name="connsiteX197" fmla="*/ 1787803 w 12193149"/>
              <a:gd name="connsiteY197" fmla="*/ 2041363 h 2344739"/>
              <a:gd name="connsiteX198" fmla="*/ 1739352 w 12193149"/>
              <a:gd name="connsiteY198" fmla="*/ 2036312 h 2344739"/>
              <a:gd name="connsiteX199" fmla="*/ 1676219 w 12193149"/>
              <a:gd name="connsiteY199" fmla="*/ 2019963 h 2344739"/>
              <a:gd name="connsiteX200" fmla="*/ 1609817 w 12193149"/>
              <a:gd name="connsiteY200" fmla="*/ 2013066 h 2344739"/>
              <a:gd name="connsiteX201" fmla="*/ 1497258 w 12193149"/>
              <a:gd name="connsiteY201" fmla="*/ 1987476 h 2344739"/>
              <a:gd name="connsiteX202" fmla="*/ 1151127 w 12193149"/>
              <a:gd name="connsiteY202" fmla="*/ 1938041 h 2344739"/>
              <a:gd name="connsiteX203" fmla="*/ 859417 w 12193149"/>
              <a:gd name="connsiteY203" fmla="*/ 1928608 h 2344739"/>
              <a:gd name="connsiteX204" fmla="*/ 838688 w 12193149"/>
              <a:gd name="connsiteY204" fmla="*/ 1929821 h 2344739"/>
              <a:gd name="connsiteX205" fmla="*/ 817957 w 12193149"/>
              <a:gd name="connsiteY205" fmla="*/ 1927857 h 2344739"/>
              <a:gd name="connsiteX206" fmla="*/ 812654 w 12193149"/>
              <a:gd name="connsiteY206" fmla="*/ 1930751 h 2344739"/>
              <a:gd name="connsiteX207" fmla="*/ 721195 w 12193149"/>
              <a:gd name="connsiteY207" fmla="*/ 1929661 h 2344739"/>
              <a:gd name="connsiteX208" fmla="*/ 720890 w 12193149"/>
              <a:gd name="connsiteY208" fmla="*/ 1928399 h 2344739"/>
              <a:gd name="connsiteX209" fmla="*/ 710023 w 12193149"/>
              <a:gd name="connsiteY209" fmla="*/ 1922722 h 2344739"/>
              <a:gd name="connsiteX210" fmla="*/ 597940 w 12193149"/>
              <a:gd name="connsiteY210" fmla="*/ 1879864 h 2344739"/>
              <a:gd name="connsiteX211" fmla="*/ 579683 w 12193149"/>
              <a:gd name="connsiteY211" fmla="*/ 1877212 h 2344739"/>
              <a:gd name="connsiteX212" fmla="*/ 572865 w 12193149"/>
              <a:gd name="connsiteY212" fmla="*/ 1877401 h 2344739"/>
              <a:gd name="connsiteX213" fmla="*/ 446247 w 12193149"/>
              <a:gd name="connsiteY213" fmla="*/ 1839371 h 2344739"/>
              <a:gd name="connsiteX214" fmla="*/ 405163 w 12193149"/>
              <a:gd name="connsiteY214" fmla="*/ 1833548 h 2344739"/>
              <a:gd name="connsiteX215" fmla="*/ 293583 w 12193149"/>
              <a:gd name="connsiteY215" fmla="*/ 1812852 h 2344739"/>
              <a:gd name="connsiteX216" fmla="*/ 119529 w 12193149"/>
              <a:gd name="connsiteY216" fmla="*/ 1761047 h 2344739"/>
              <a:gd name="connsiteX217" fmla="*/ 16674 w 12193149"/>
              <a:gd name="connsiteY217" fmla="*/ 1758191 h 2344739"/>
              <a:gd name="connsiteX218" fmla="*/ 1150 w 12193149"/>
              <a:gd name="connsiteY218" fmla="*/ 1752722 h 2344739"/>
              <a:gd name="connsiteX219" fmla="*/ 1148 w 12193149"/>
              <a:gd name="connsiteY219" fmla="*/ 222213 h 2344739"/>
              <a:gd name="connsiteX220" fmla="*/ 1148 w 12193149"/>
              <a:gd name="connsiteY220"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749767 w 12193149"/>
              <a:gd name="connsiteY23" fmla="*/ 872002 h 2344739"/>
              <a:gd name="connsiteX24" fmla="*/ 11590693 w 12193149"/>
              <a:gd name="connsiteY24" fmla="*/ 963777 h 2344739"/>
              <a:gd name="connsiteX25" fmla="*/ 11506817 w 12193149"/>
              <a:gd name="connsiteY25" fmla="*/ 1033623 h 2344739"/>
              <a:gd name="connsiteX26" fmla="*/ 11280332 w 12193149"/>
              <a:gd name="connsiteY26" fmla="*/ 1223571 h 2344739"/>
              <a:gd name="connsiteX27" fmla="*/ 11228309 w 12193149"/>
              <a:gd name="connsiteY27" fmla="*/ 1276236 h 2344739"/>
              <a:gd name="connsiteX28" fmla="*/ 11218087 w 12193149"/>
              <a:gd name="connsiteY28" fmla="*/ 1275961 h 2344739"/>
              <a:gd name="connsiteX29" fmla="*/ 11217184 w 12193149"/>
              <a:gd name="connsiteY29" fmla="*/ 1275018 h 2344739"/>
              <a:gd name="connsiteX30" fmla="*/ 11188885 w 12193149"/>
              <a:gd name="connsiteY30" fmla="*/ 1292383 h 2344739"/>
              <a:gd name="connsiteX31" fmla="*/ 11184501 w 12193149"/>
              <a:gd name="connsiteY31" fmla="*/ 1292525 h 2344739"/>
              <a:gd name="connsiteX32" fmla="*/ 11166854 w 12193149"/>
              <a:gd name="connsiteY32" fmla="*/ 1306612 h 2344739"/>
              <a:gd name="connsiteX33" fmla="*/ 11157311 w 12193149"/>
              <a:gd name="connsiteY33" fmla="*/ 1312414 h 2344739"/>
              <a:gd name="connsiteX34" fmla="*/ 11155496 w 12193149"/>
              <a:gd name="connsiteY34" fmla="*/ 1317097 h 2344739"/>
              <a:gd name="connsiteX35" fmla="*/ 11140961 w 12193149"/>
              <a:gd name="connsiteY35" fmla="*/ 1324115 h 2344739"/>
              <a:gd name="connsiteX36" fmla="*/ 11138961 w 12193149"/>
              <a:gd name="connsiteY36" fmla="*/ 1323772 h 2344739"/>
              <a:gd name="connsiteX37" fmla="*/ 11128208 w 12193149"/>
              <a:gd name="connsiteY37" fmla="*/ 1333832 h 2344739"/>
              <a:gd name="connsiteX38" fmla="*/ 11120691 w 12193149"/>
              <a:gd name="connsiteY38" fmla="*/ 1347424 h 2344739"/>
              <a:gd name="connsiteX39" fmla="*/ 10894683 w 12193149"/>
              <a:gd name="connsiteY39" fmla="*/ 1473399 h 2344739"/>
              <a:gd name="connsiteX40" fmla="*/ 10773300 w 12193149"/>
              <a:gd name="connsiteY40" fmla="*/ 1523191 h 2344739"/>
              <a:gd name="connsiteX41" fmla="*/ 10627668 w 12193149"/>
              <a:gd name="connsiteY41" fmla="*/ 1559229 h 2344739"/>
              <a:gd name="connsiteX42" fmla="*/ 10581895 w 12193149"/>
              <a:gd name="connsiteY42" fmla="*/ 1568689 h 2344739"/>
              <a:gd name="connsiteX43" fmla="*/ 10547790 w 12193149"/>
              <a:gd name="connsiteY43" fmla="*/ 1598423 h 2344739"/>
              <a:gd name="connsiteX44" fmla="*/ 10529643 w 12193149"/>
              <a:gd name="connsiteY44" fmla="*/ 1596907 h 2344739"/>
              <a:gd name="connsiteX45" fmla="*/ 10526446 w 12193149"/>
              <a:gd name="connsiteY45" fmla="*/ 1596411 h 2344739"/>
              <a:gd name="connsiteX46" fmla="*/ 10515129 w 12193149"/>
              <a:gd name="connsiteY46" fmla="*/ 1599537 h 2344739"/>
              <a:gd name="connsiteX47" fmla="*/ 10491735 w 12193149"/>
              <a:gd name="connsiteY47" fmla="*/ 1594156 h 2344739"/>
              <a:gd name="connsiteX48" fmla="*/ 10471418 w 12193149"/>
              <a:gd name="connsiteY48" fmla="*/ 1601693 h 2344739"/>
              <a:gd name="connsiteX49" fmla="*/ 10377042 w 12193149"/>
              <a:gd name="connsiteY49" fmla="*/ 1644598 h 2344739"/>
              <a:gd name="connsiteX50" fmla="*/ 10319338 w 12193149"/>
              <a:gd name="connsiteY50" fmla="*/ 1666221 h 2344739"/>
              <a:gd name="connsiteX51" fmla="*/ 10295467 w 12193149"/>
              <a:gd name="connsiteY51" fmla="*/ 1668079 h 2344739"/>
              <a:gd name="connsiteX52" fmla="*/ 10263443 w 12193149"/>
              <a:gd name="connsiteY52" fmla="*/ 1674948 h 2344739"/>
              <a:gd name="connsiteX53" fmla="*/ 10205418 w 12193149"/>
              <a:gd name="connsiteY53" fmla="*/ 1682149 h 2344739"/>
              <a:gd name="connsiteX54" fmla="*/ 10177759 w 12193149"/>
              <a:gd name="connsiteY54" fmla="*/ 1692943 h 2344739"/>
              <a:gd name="connsiteX55" fmla="*/ 10165070 w 12193149"/>
              <a:gd name="connsiteY55" fmla="*/ 1693739 h 2344739"/>
              <a:gd name="connsiteX56" fmla="*/ 10156308 w 12193149"/>
              <a:gd name="connsiteY56" fmla="*/ 1707487 h 2344739"/>
              <a:gd name="connsiteX57" fmla="*/ 10118267 w 12193149"/>
              <a:gd name="connsiteY57" fmla="*/ 1731142 h 2344739"/>
              <a:gd name="connsiteX58" fmla="*/ 10083317 w 12193149"/>
              <a:gd name="connsiteY58" fmla="*/ 1743296 h 2344739"/>
              <a:gd name="connsiteX59" fmla="*/ 10040388 w 12193149"/>
              <a:gd name="connsiteY59" fmla="*/ 1741632 h 2344739"/>
              <a:gd name="connsiteX60" fmla="*/ 9961167 w 12193149"/>
              <a:gd name="connsiteY60" fmla="*/ 1757147 h 2344739"/>
              <a:gd name="connsiteX61" fmla="*/ 9848940 w 12193149"/>
              <a:gd name="connsiteY61" fmla="*/ 1763915 h 2344739"/>
              <a:gd name="connsiteX62" fmla="*/ 9729457 w 12193149"/>
              <a:gd name="connsiteY62" fmla="*/ 1784122 h 2344739"/>
              <a:gd name="connsiteX63" fmla="*/ 9613704 w 12193149"/>
              <a:gd name="connsiteY63" fmla="*/ 1812371 h 2344739"/>
              <a:gd name="connsiteX64" fmla="*/ 9338590 w 12193149"/>
              <a:gd name="connsiteY64" fmla="*/ 1869293 h 2344739"/>
              <a:gd name="connsiteX65" fmla="*/ 9232518 w 12193149"/>
              <a:gd name="connsiteY65" fmla="*/ 1893149 h 2344739"/>
              <a:gd name="connsiteX66" fmla="*/ 9156690 w 12193149"/>
              <a:gd name="connsiteY66" fmla="*/ 1903228 h 2344739"/>
              <a:gd name="connsiteX67" fmla="*/ 9054601 w 12193149"/>
              <a:gd name="connsiteY67" fmla="*/ 1910755 h 2344739"/>
              <a:gd name="connsiteX68" fmla="*/ 9006634 w 12193149"/>
              <a:gd name="connsiteY68" fmla="*/ 1914040 h 2344739"/>
              <a:gd name="connsiteX69" fmla="*/ 9006349 w 12193149"/>
              <a:gd name="connsiteY69" fmla="*/ 1913800 h 2344739"/>
              <a:gd name="connsiteX70" fmla="*/ 8997380 w 12193149"/>
              <a:gd name="connsiteY70" fmla="*/ 1915011 h 2344739"/>
              <a:gd name="connsiteX71" fmla="*/ 8991542 w 12193149"/>
              <a:gd name="connsiteY71" fmla="*/ 1917072 h 2344739"/>
              <a:gd name="connsiteX72" fmla="*/ 8975485 w 12193149"/>
              <a:gd name="connsiteY72" fmla="*/ 1920298 h 2344739"/>
              <a:gd name="connsiteX73" fmla="*/ 8969159 w 12193149"/>
              <a:gd name="connsiteY73" fmla="*/ 1919598 h 2344739"/>
              <a:gd name="connsiteX74" fmla="*/ 8964196 w 12193149"/>
              <a:gd name="connsiteY74" fmla="*/ 1917373 h 2344739"/>
              <a:gd name="connsiteX75" fmla="*/ 8930136 w 12193149"/>
              <a:gd name="connsiteY75" fmla="*/ 1914185 h 2344739"/>
              <a:gd name="connsiteX76" fmla="*/ 8753592 w 12193149"/>
              <a:gd name="connsiteY76" fmla="*/ 1933417 h 2344739"/>
              <a:gd name="connsiteX77" fmla="*/ 8708995 w 12193149"/>
              <a:gd name="connsiteY77" fmla="*/ 1935518 h 2344739"/>
              <a:gd name="connsiteX78" fmla="*/ 8597219 w 12193149"/>
              <a:gd name="connsiteY78" fmla="*/ 1944090 h 2344739"/>
              <a:gd name="connsiteX79" fmla="*/ 8526378 w 12193149"/>
              <a:gd name="connsiteY79" fmla="*/ 1929248 h 2344739"/>
              <a:gd name="connsiteX80" fmla="*/ 8512131 w 12193149"/>
              <a:gd name="connsiteY80" fmla="*/ 1935163 h 2344739"/>
              <a:gd name="connsiteX81" fmla="*/ 8507315 w 12193149"/>
              <a:gd name="connsiteY81" fmla="*/ 1938164 h 2344739"/>
              <a:gd name="connsiteX82" fmla="*/ 8499116 w 12193149"/>
              <a:gd name="connsiteY82" fmla="*/ 1940902 h 2344739"/>
              <a:gd name="connsiteX83" fmla="*/ 8498742 w 12193149"/>
              <a:gd name="connsiteY83" fmla="*/ 1940723 h 2344739"/>
              <a:gd name="connsiteX84" fmla="*/ 8491397 w 12193149"/>
              <a:gd name="connsiteY84" fmla="*/ 1943773 h 2344739"/>
              <a:gd name="connsiteX85" fmla="*/ 8368330 w 12193149"/>
              <a:gd name="connsiteY85" fmla="*/ 1957815 h 2344739"/>
              <a:gd name="connsiteX86" fmla="*/ 8354947 w 12193149"/>
              <a:gd name="connsiteY86" fmla="*/ 1958009 h 2344739"/>
              <a:gd name="connsiteX87" fmla="*/ 8321252 w 12193149"/>
              <a:gd name="connsiteY87" fmla="*/ 1974587 h 2344739"/>
              <a:gd name="connsiteX88" fmla="*/ 8315581 w 12193149"/>
              <a:gd name="connsiteY88" fmla="*/ 1974913 h 2344739"/>
              <a:gd name="connsiteX89" fmla="*/ 8296322 w 12193149"/>
              <a:gd name="connsiteY89" fmla="*/ 1988808 h 2344739"/>
              <a:gd name="connsiteX90" fmla="*/ 8285424 w 12193149"/>
              <a:gd name="connsiteY90" fmla="*/ 1994631 h 2344739"/>
              <a:gd name="connsiteX91" fmla="*/ 8284298 w 12193149"/>
              <a:gd name="connsiteY91" fmla="*/ 1999074 h 2344739"/>
              <a:gd name="connsiteX92" fmla="*/ 8267224 w 12193149"/>
              <a:gd name="connsiteY92" fmla="*/ 2006249 h 2344739"/>
              <a:gd name="connsiteX93" fmla="*/ 8264525 w 12193149"/>
              <a:gd name="connsiteY93" fmla="*/ 2006019 h 2344739"/>
              <a:gd name="connsiteX94" fmla="*/ 8253181 w 12193149"/>
              <a:gd name="connsiteY94" fmla="*/ 2015862 h 2344739"/>
              <a:gd name="connsiteX95" fmla="*/ 8246982 w 12193149"/>
              <a:gd name="connsiteY95" fmla="*/ 2028854 h 2344739"/>
              <a:gd name="connsiteX96" fmla="*/ 8091420 w 12193149"/>
              <a:gd name="connsiteY96" fmla="*/ 2075015 h 2344739"/>
              <a:gd name="connsiteX97" fmla="*/ 7906555 w 12193149"/>
              <a:gd name="connsiteY97" fmla="*/ 2116988 h 2344739"/>
              <a:gd name="connsiteX98" fmla="*/ 7719893 w 12193149"/>
              <a:gd name="connsiteY98" fmla="*/ 2142703 h 2344739"/>
              <a:gd name="connsiteX99" fmla="*/ 7615495 w 12193149"/>
              <a:gd name="connsiteY99" fmla="*/ 2139232 h 2344739"/>
              <a:gd name="connsiteX100" fmla="*/ 7528691 w 12193149"/>
              <a:gd name="connsiteY100" fmla="*/ 2145060 h 2344739"/>
              <a:gd name="connsiteX101" fmla="*/ 7520719 w 12193149"/>
              <a:gd name="connsiteY101" fmla="*/ 2147613 h 2344739"/>
              <a:gd name="connsiteX102" fmla="*/ 7508559 w 12193149"/>
              <a:gd name="connsiteY102" fmla="*/ 2148948 h 2344739"/>
              <a:gd name="connsiteX103" fmla="*/ 7508188 w 12193149"/>
              <a:gd name="connsiteY103" fmla="*/ 2148621 h 2344739"/>
              <a:gd name="connsiteX104" fmla="*/ 7496943 w 12193149"/>
              <a:gd name="connsiteY104" fmla="*/ 2150573 h 2344739"/>
              <a:gd name="connsiteX105" fmla="*/ 7406539 w 12193149"/>
              <a:gd name="connsiteY105" fmla="*/ 2142468 h 2344739"/>
              <a:gd name="connsiteX106" fmla="*/ 7219707 w 12193149"/>
              <a:gd name="connsiteY106" fmla="*/ 2156680 h 2344739"/>
              <a:gd name="connsiteX107" fmla="*/ 7202249 w 12193149"/>
              <a:gd name="connsiteY107" fmla="*/ 2161230 h 2344739"/>
              <a:gd name="connsiteX108" fmla="*/ 7198152 w 12193149"/>
              <a:gd name="connsiteY108" fmla="*/ 2166588 h 2344739"/>
              <a:gd name="connsiteX109" fmla="*/ 7171956 w 12193149"/>
              <a:gd name="connsiteY109" fmla="*/ 2171236 h 2344739"/>
              <a:gd name="connsiteX110" fmla="*/ 7098136 w 12193149"/>
              <a:gd name="connsiteY110" fmla="*/ 2183464 h 2344739"/>
              <a:gd name="connsiteX111" fmla="*/ 7019644 w 12193149"/>
              <a:gd name="connsiteY111" fmla="*/ 2183090 h 2344739"/>
              <a:gd name="connsiteX112" fmla="*/ 6905294 w 12193149"/>
              <a:gd name="connsiteY112" fmla="*/ 2212596 h 2344739"/>
              <a:gd name="connsiteX113" fmla="*/ 6709370 w 12193149"/>
              <a:gd name="connsiteY113" fmla="*/ 2240551 h 2344739"/>
              <a:gd name="connsiteX114" fmla="*/ 6550602 w 12193149"/>
              <a:gd name="connsiteY114" fmla="*/ 2269327 h 2344739"/>
              <a:gd name="connsiteX115" fmla="*/ 6318708 w 12193149"/>
              <a:gd name="connsiteY115" fmla="*/ 2316127 h 2344739"/>
              <a:gd name="connsiteX116" fmla="*/ 6169822 w 12193149"/>
              <a:gd name="connsiteY116" fmla="*/ 2318214 h 2344739"/>
              <a:gd name="connsiteX117" fmla="*/ 6074996 w 12193149"/>
              <a:gd name="connsiteY117" fmla="*/ 2338676 h 2344739"/>
              <a:gd name="connsiteX118" fmla="*/ 6069677 w 12193149"/>
              <a:gd name="connsiteY118" fmla="*/ 2337139 h 2344739"/>
              <a:gd name="connsiteX119" fmla="*/ 6049786 w 12193149"/>
              <a:gd name="connsiteY119" fmla="*/ 2337822 h 2344739"/>
              <a:gd name="connsiteX120" fmla="*/ 6042433 w 12193149"/>
              <a:gd name="connsiteY120" fmla="*/ 2329473 h 2344739"/>
              <a:gd name="connsiteX121" fmla="*/ 6011238 w 12193149"/>
              <a:gd name="connsiteY121" fmla="*/ 2324380 h 2344739"/>
              <a:gd name="connsiteX122" fmla="*/ 5958523 w 12193149"/>
              <a:gd name="connsiteY122" fmla="*/ 2328024 h 2344739"/>
              <a:gd name="connsiteX123" fmla="*/ 5760067 w 12193149"/>
              <a:gd name="connsiteY123" fmla="*/ 2343716 h 2344739"/>
              <a:gd name="connsiteX124" fmla="*/ 5628108 w 12193149"/>
              <a:gd name="connsiteY124" fmla="*/ 2344739 h 2344739"/>
              <a:gd name="connsiteX125" fmla="*/ 5472054 w 12193149"/>
              <a:gd name="connsiteY125" fmla="*/ 2330719 h 2344739"/>
              <a:gd name="connsiteX126" fmla="*/ 5433909 w 12193149"/>
              <a:gd name="connsiteY126" fmla="*/ 2319466 h 2344739"/>
              <a:gd name="connsiteX127" fmla="*/ 5382817 w 12193149"/>
              <a:gd name="connsiteY127" fmla="*/ 2301764 h 2344739"/>
              <a:gd name="connsiteX128" fmla="*/ 5262912 w 12193149"/>
              <a:gd name="connsiteY128" fmla="*/ 2281347 h 2344739"/>
              <a:gd name="connsiteX129" fmla="*/ 5224109 w 12193149"/>
              <a:gd name="connsiteY129" fmla="*/ 2270223 h 2344739"/>
              <a:gd name="connsiteX130" fmla="*/ 5175808 w 12193149"/>
              <a:gd name="connsiteY130" fmla="*/ 2267233 h 2344739"/>
              <a:gd name="connsiteX131" fmla="*/ 5157702 w 12193149"/>
              <a:gd name="connsiteY131" fmla="*/ 2260010 h 2344739"/>
              <a:gd name="connsiteX132" fmla="*/ 5143747 w 12193149"/>
              <a:gd name="connsiteY132" fmla="*/ 2256610 h 2344739"/>
              <a:gd name="connsiteX133" fmla="*/ 5140744 w 12193149"/>
              <a:gd name="connsiteY133" fmla="*/ 2254509 h 2344739"/>
              <a:gd name="connsiteX134" fmla="*/ 5122807 w 12193149"/>
              <a:gd name="connsiteY134" fmla="*/ 2243656 h 2344739"/>
              <a:gd name="connsiteX135" fmla="*/ 5066938 w 12193149"/>
              <a:gd name="connsiteY135" fmla="*/ 2250227 h 2344739"/>
              <a:gd name="connsiteX136" fmla="*/ 5012662 w 12193149"/>
              <a:gd name="connsiteY136" fmla="*/ 2233846 h 2344739"/>
              <a:gd name="connsiteX137" fmla="*/ 4841589 w 12193149"/>
              <a:gd name="connsiteY137" fmla="*/ 2209829 h 2344739"/>
              <a:gd name="connsiteX138" fmla="*/ 4763595 w 12193149"/>
              <a:gd name="connsiteY138" fmla="*/ 2182061 h 2344739"/>
              <a:gd name="connsiteX139" fmla="*/ 4724334 w 12193149"/>
              <a:gd name="connsiteY139" fmla="*/ 2173047 h 2344739"/>
              <a:gd name="connsiteX140" fmla="*/ 4722324 w 12193149"/>
              <a:gd name="connsiteY140" fmla="*/ 2172298 h 2344739"/>
              <a:gd name="connsiteX141" fmla="*/ 4723259 w 12193149"/>
              <a:gd name="connsiteY141" fmla="*/ 2172087 h 2344739"/>
              <a:gd name="connsiteX142" fmla="*/ 4718350 w 12193149"/>
              <a:gd name="connsiteY142" fmla="*/ 2170817 h 2344739"/>
              <a:gd name="connsiteX143" fmla="*/ 4722324 w 12193149"/>
              <a:gd name="connsiteY143" fmla="*/ 2172298 h 2344739"/>
              <a:gd name="connsiteX144" fmla="*/ 4716674 w 12193149"/>
              <a:gd name="connsiteY144" fmla="*/ 2173573 h 2344739"/>
              <a:gd name="connsiteX145" fmla="*/ 4516962 w 12193149"/>
              <a:gd name="connsiteY145" fmla="*/ 2163671 h 2344739"/>
              <a:gd name="connsiteX146" fmla="*/ 4429691 w 12193149"/>
              <a:gd name="connsiteY146" fmla="*/ 2153020 h 2344739"/>
              <a:gd name="connsiteX147" fmla="*/ 4364023 w 12193149"/>
              <a:gd name="connsiteY147" fmla="*/ 2151674 h 2344739"/>
              <a:gd name="connsiteX148" fmla="*/ 4318114 w 12193149"/>
              <a:gd name="connsiteY148" fmla="*/ 2158289 h 2344739"/>
              <a:gd name="connsiteX149" fmla="*/ 4316258 w 12193149"/>
              <a:gd name="connsiteY149" fmla="*/ 2156948 h 2344739"/>
              <a:gd name="connsiteX150" fmla="*/ 4296292 w 12193149"/>
              <a:gd name="connsiteY150" fmla="*/ 2155069 h 2344739"/>
              <a:gd name="connsiteX151" fmla="*/ 4291212 w 12193149"/>
              <a:gd name="connsiteY151" fmla="*/ 2157986 h 2344739"/>
              <a:gd name="connsiteX152" fmla="*/ 4277290 w 12193149"/>
              <a:gd name="connsiteY152" fmla="*/ 2157740 h 2344739"/>
              <a:gd name="connsiteX153" fmla="*/ 4249265 w 12193149"/>
              <a:gd name="connsiteY153" fmla="*/ 2160064 h 2344739"/>
              <a:gd name="connsiteX154" fmla="*/ 4203199 w 12193149"/>
              <a:gd name="connsiteY154" fmla="*/ 2157269 h 2344739"/>
              <a:gd name="connsiteX155" fmla="*/ 4202893 w 12193149"/>
              <a:gd name="connsiteY155" fmla="*/ 2156010 h 2344739"/>
              <a:gd name="connsiteX156" fmla="*/ 4192396 w 12193149"/>
              <a:gd name="connsiteY156" fmla="*/ 2150376 h 2344739"/>
              <a:gd name="connsiteX157" fmla="*/ 4143893 w 12193149"/>
              <a:gd name="connsiteY157" fmla="*/ 2134511 h 2344739"/>
              <a:gd name="connsiteX158" fmla="*/ 4084245 w 12193149"/>
              <a:gd name="connsiteY158" fmla="*/ 2107978 h 2344739"/>
              <a:gd name="connsiteX159" fmla="*/ 4075694 w 12193149"/>
              <a:gd name="connsiteY159" fmla="*/ 2107143 h 2344739"/>
              <a:gd name="connsiteX160" fmla="*/ 4075575 w 12193149"/>
              <a:gd name="connsiteY160" fmla="*/ 2106844 h 2344739"/>
              <a:gd name="connsiteX161" fmla="*/ 4066658 w 12193149"/>
              <a:gd name="connsiteY161" fmla="*/ 2105400 h 2344739"/>
              <a:gd name="connsiteX162" fmla="*/ 4060102 w 12193149"/>
              <a:gd name="connsiteY162" fmla="*/ 2105618 h 2344739"/>
              <a:gd name="connsiteX163" fmla="*/ 4043512 w 12193149"/>
              <a:gd name="connsiteY163" fmla="*/ 2103997 h 2344739"/>
              <a:gd name="connsiteX164" fmla="*/ 4038145 w 12193149"/>
              <a:gd name="connsiteY164" fmla="*/ 2101563 h 2344739"/>
              <a:gd name="connsiteX165" fmla="*/ 4036511 w 12193149"/>
              <a:gd name="connsiteY165" fmla="*/ 2097896 h 2344739"/>
              <a:gd name="connsiteX166" fmla="*/ 4034926 w 12193149"/>
              <a:gd name="connsiteY166" fmla="*/ 2098131 h 2344739"/>
              <a:gd name="connsiteX167" fmla="*/ 4005686 w 12193149"/>
              <a:gd name="connsiteY167" fmla="*/ 2085563 h 2344739"/>
              <a:gd name="connsiteX168" fmla="*/ 3937994 w 12193149"/>
              <a:gd name="connsiteY168" fmla="*/ 2068106 h 2344739"/>
              <a:gd name="connsiteX169" fmla="*/ 3898423 w 12193149"/>
              <a:gd name="connsiteY169" fmla="*/ 2062451 h 2344739"/>
              <a:gd name="connsiteX170" fmla="*/ 3790908 w 12193149"/>
              <a:gd name="connsiteY170" fmla="*/ 2042213 h 2344739"/>
              <a:gd name="connsiteX171" fmla="*/ 3683661 w 12193149"/>
              <a:gd name="connsiteY171" fmla="*/ 2018290 h 2344739"/>
              <a:gd name="connsiteX172" fmla="*/ 3611183 w 12193149"/>
              <a:gd name="connsiteY172" fmla="*/ 1986019 h 2344739"/>
              <a:gd name="connsiteX173" fmla="*/ 3605003 w 12193149"/>
              <a:gd name="connsiteY173" fmla="*/ 1987381 h 2344739"/>
              <a:gd name="connsiteX174" fmla="*/ 3595884 w 12193149"/>
              <a:gd name="connsiteY174" fmla="*/ 1987545 h 2344739"/>
              <a:gd name="connsiteX175" fmla="*/ 3595649 w 12193149"/>
              <a:gd name="connsiteY175" fmla="*/ 1987276 h 2344739"/>
              <a:gd name="connsiteX176" fmla="*/ 3587126 w 12193149"/>
              <a:gd name="connsiteY176" fmla="*/ 1987966 h 2344739"/>
              <a:gd name="connsiteX177" fmla="*/ 3537283 w 12193149"/>
              <a:gd name="connsiteY177" fmla="*/ 1978267 h 2344739"/>
              <a:gd name="connsiteX178" fmla="*/ 3474371 w 12193149"/>
              <a:gd name="connsiteY178" fmla="*/ 1974606 h 2344739"/>
              <a:gd name="connsiteX179" fmla="*/ 3401876 w 12193149"/>
              <a:gd name="connsiteY179" fmla="*/ 1962558 h 2344739"/>
              <a:gd name="connsiteX180" fmla="*/ 3365036 w 12193149"/>
              <a:gd name="connsiteY180" fmla="*/ 1979510 h 2344739"/>
              <a:gd name="connsiteX181" fmla="*/ 3345174 w 12193149"/>
              <a:gd name="connsiteY181" fmla="*/ 1981192 h 2344739"/>
              <a:gd name="connsiteX182" fmla="*/ 3342846 w 12193149"/>
              <a:gd name="connsiteY182" fmla="*/ 1980217 h 2344739"/>
              <a:gd name="connsiteX183" fmla="*/ 3263504 w 12193149"/>
              <a:gd name="connsiteY183" fmla="*/ 1986094 h 2344739"/>
              <a:gd name="connsiteX184" fmla="*/ 3143704 w 12193149"/>
              <a:gd name="connsiteY184" fmla="*/ 1993869 h 2344739"/>
              <a:gd name="connsiteX185" fmla="*/ 3031439 w 12193149"/>
              <a:gd name="connsiteY185" fmla="*/ 1996512 h 2344739"/>
              <a:gd name="connsiteX186" fmla="*/ 2782717 w 12193149"/>
              <a:gd name="connsiteY186" fmla="*/ 2018333 h 2344739"/>
              <a:gd name="connsiteX187" fmla="*/ 2647675 w 12193149"/>
              <a:gd name="connsiteY187" fmla="*/ 2028869 h 2344739"/>
              <a:gd name="connsiteX188" fmla="*/ 2569176 w 12193149"/>
              <a:gd name="connsiteY188" fmla="*/ 2002628 h 2344739"/>
              <a:gd name="connsiteX189" fmla="*/ 2444403 w 12193149"/>
              <a:gd name="connsiteY189" fmla="*/ 2016529 h 2344739"/>
              <a:gd name="connsiteX190" fmla="*/ 2316260 w 12193149"/>
              <a:gd name="connsiteY190" fmla="*/ 2024996 h 2344739"/>
              <a:gd name="connsiteX191" fmla="*/ 2209726 w 12193149"/>
              <a:gd name="connsiteY191" fmla="*/ 2019763 h 2344739"/>
              <a:gd name="connsiteX192" fmla="*/ 2095813 w 12193149"/>
              <a:gd name="connsiteY192" fmla="*/ 2003052 h 2344739"/>
              <a:gd name="connsiteX193" fmla="*/ 1998504 w 12193149"/>
              <a:gd name="connsiteY193" fmla="*/ 1995032 h 2344739"/>
              <a:gd name="connsiteX194" fmla="*/ 1929320 w 12193149"/>
              <a:gd name="connsiteY194" fmla="*/ 2016977 h 2344739"/>
              <a:gd name="connsiteX195" fmla="*/ 1922798 w 12193149"/>
              <a:gd name="connsiteY195" fmla="*/ 2012146 h 2344739"/>
              <a:gd name="connsiteX196" fmla="*/ 1874228 w 12193149"/>
              <a:gd name="connsiteY196" fmla="*/ 2013741 h 2344739"/>
              <a:gd name="connsiteX197" fmla="*/ 1787803 w 12193149"/>
              <a:gd name="connsiteY197" fmla="*/ 2041363 h 2344739"/>
              <a:gd name="connsiteX198" fmla="*/ 1739352 w 12193149"/>
              <a:gd name="connsiteY198" fmla="*/ 2036312 h 2344739"/>
              <a:gd name="connsiteX199" fmla="*/ 1676219 w 12193149"/>
              <a:gd name="connsiteY199" fmla="*/ 2019963 h 2344739"/>
              <a:gd name="connsiteX200" fmla="*/ 1609817 w 12193149"/>
              <a:gd name="connsiteY200" fmla="*/ 2013066 h 2344739"/>
              <a:gd name="connsiteX201" fmla="*/ 1497258 w 12193149"/>
              <a:gd name="connsiteY201" fmla="*/ 1987476 h 2344739"/>
              <a:gd name="connsiteX202" fmla="*/ 1151127 w 12193149"/>
              <a:gd name="connsiteY202" fmla="*/ 1938041 h 2344739"/>
              <a:gd name="connsiteX203" fmla="*/ 859417 w 12193149"/>
              <a:gd name="connsiteY203" fmla="*/ 1928608 h 2344739"/>
              <a:gd name="connsiteX204" fmla="*/ 838688 w 12193149"/>
              <a:gd name="connsiteY204" fmla="*/ 1929821 h 2344739"/>
              <a:gd name="connsiteX205" fmla="*/ 817957 w 12193149"/>
              <a:gd name="connsiteY205" fmla="*/ 1927857 h 2344739"/>
              <a:gd name="connsiteX206" fmla="*/ 812654 w 12193149"/>
              <a:gd name="connsiteY206" fmla="*/ 1930751 h 2344739"/>
              <a:gd name="connsiteX207" fmla="*/ 721195 w 12193149"/>
              <a:gd name="connsiteY207" fmla="*/ 1929661 h 2344739"/>
              <a:gd name="connsiteX208" fmla="*/ 720890 w 12193149"/>
              <a:gd name="connsiteY208" fmla="*/ 1928399 h 2344739"/>
              <a:gd name="connsiteX209" fmla="*/ 710023 w 12193149"/>
              <a:gd name="connsiteY209" fmla="*/ 1922722 h 2344739"/>
              <a:gd name="connsiteX210" fmla="*/ 597940 w 12193149"/>
              <a:gd name="connsiteY210" fmla="*/ 1879864 h 2344739"/>
              <a:gd name="connsiteX211" fmla="*/ 579683 w 12193149"/>
              <a:gd name="connsiteY211" fmla="*/ 1877212 h 2344739"/>
              <a:gd name="connsiteX212" fmla="*/ 572865 w 12193149"/>
              <a:gd name="connsiteY212" fmla="*/ 1877401 h 2344739"/>
              <a:gd name="connsiteX213" fmla="*/ 446247 w 12193149"/>
              <a:gd name="connsiteY213" fmla="*/ 1839371 h 2344739"/>
              <a:gd name="connsiteX214" fmla="*/ 405163 w 12193149"/>
              <a:gd name="connsiteY214" fmla="*/ 1833548 h 2344739"/>
              <a:gd name="connsiteX215" fmla="*/ 293583 w 12193149"/>
              <a:gd name="connsiteY215" fmla="*/ 1812852 h 2344739"/>
              <a:gd name="connsiteX216" fmla="*/ 119529 w 12193149"/>
              <a:gd name="connsiteY216" fmla="*/ 1761047 h 2344739"/>
              <a:gd name="connsiteX217" fmla="*/ 16674 w 12193149"/>
              <a:gd name="connsiteY217" fmla="*/ 1758191 h 2344739"/>
              <a:gd name="connsiteX218" fmla="*/ 1150 w 12193149"/>
              <a:gd name="connsiteY218" fmla="*/ 1752722 h 2344739"/>
              <a:gd name="connsiteX219" fmla="*/ 1148 w 12193149"/>
              <a:gd name="connsiteY219" fmla="*/ 222213 h 2344739"/>
              <a:gd name="connsiteX220" fmla="*/ 1148 w 12193149"/>
              <a:gd name="connsiteY220"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749767 w 12193149"/>
              <a:gd name="connsiteY23" fmla="*/ 872002 h 2344739"/>
              <a:gd name="connsiteX24" fmla="*/ 11590693 w 12193149"/>
              <a:gd name="connsiteY24" fmla="*/ 963777 h 2344739"/>
              <a:gd name="connsiteX25" fmla="*/ 11506817 w 12193149"/>
              <a:gd name="connsiteY25" fmla="*/ 1033623 h 2344739"/>
              <a:gd name="connsiteX26" fmla="*/ 11280332 w 12193149"/>
              <a:gd name="connsiteY26" fmla="*/ 1223571 h 2344739"/>
              <a:gd name="connsiteX27" fmla="*/ 11228309 w 12193149"/>
              <a:gd name="connsiteY27" fmla="*/ 1276236 h 2344739"/>
              <a:gd name="connsiteX28" fmla="*/ 11218087 w 12193149"/>
              <a:gd name="connsiteY28" fmla="*/ 1275961 h 2344739"/>
              <a:gd name="connsiteX29" fmla="*/ 11217184 w 12193149"/>
              <a:gd name="connsiteY29" fmla="*/ 1275018 h 2344739"/>
              <a:gd name="connsiteX30" fmla="*/ 11188885 w 12193149"/>
              <a:gd name="connsiteY30" fmla="*/ 1292383 h 2344739"/>
              <a:gd name="connsiteX31" fmla="*/ 11184501 w 12193149"/>
              <a:gd name="connsiteY31" fmla="*/ 1292525 h 2344739"/>
              <a:gd name="connsiteX32" fmla="*/ 11166854 w 12193149"/>
              <a:gd name="connsiteY32" fmla="*/ 1306612 h 2344739"/>
              <a:gd name="connsiteX33" fmla="*/ 11157311 w 12193149"/>
              <a:gd name="connsiteY33" fmla="*/ 1312414 h 2344739"/>
              <a:gd name="connsiteX34" fmla="*/ 11155496 w 12193149"/>
              <a:gd name="connsiteY34" fmla="*/ 1317097 h 2344739"/>
              <a:gd name="connsiteX35" fmla="*/ 11140961 w 12193149"/>
              <a:gd name="connsiteY35" fmla="*/ 1324115 h 2344739"/>
              <a:gd name="connsiteX36" fmla="*/ 11138961 w 12193149"/>
              <a:gd name="connsiteY36" fmla="*/ 1323772 h 2344739"/>
              <a:gd name="connsiteX37" fmla="*/ 11128208 w 12193149"/>
              <a:gd name="connsiteY37" fmla="*/ 1333832 h 2344739"/>
              <a:gd name="connsiteX38" fmla="*/ 11120691 w 12193149"/>
              <a:gd name="connsiteY38" fmla="*/ 1347424 h 2344739"/>
              <a:gd name="connsiteX39" fmla="*/ 10894683 w 12193149"/>
              <a:gd name="connsiteY39" fmla="*/ 1473399 h 2344739"/>
              <a:gd name="connsiteX40" fmla="*/ 10773300 w 12193149"/>
              <a:gd name="connsiteY40" fmla="*/ 1523191 h 2344739"/>
              <a:gd name="connsiteX41" fmla="*/ 10627668 w 12193149"/>
              <a:gd name="connsiteY41" fmla="*/ 1559229 h 2344739"/>
              <a:gd name="connsiteX42" fmla="*/ 10581895 w 12193149"/>
              <a:gd name="connsiteY42" fmla="*/ 1568689 h 2344739"/>
              <a:gd name="connsiteX43" fmla="*/ 10547790 w 12193149"/>
              <a:gd name="connsiteY43" fmla="*/ 1598423 h 2344739"/>
              <a:gd name="connsiteX44" fmla="*/ 10529643 w 12193149"/>
              <a:gd name="connsiteY44" fmla="*/ 1596907 h 2344739"/>
              <a:gd name="connsiteX45" fmla="*/ 10526446 w 12193149"/>
              <a:gd name="connsiteY45" fmla="*/ 1596411 h 2344739"/>
              <a:gd name="connsiteX46" fmla="*/ 10515129 w 12193149"/>
              <a:gd name="connsiteY46" fmla="*/ 1599537 h 2344739"/>
              <a:gd name="connsiteX47" fmla="*/ 10491735 w 12193149"/>
              <a:gd name="connsiteY47" fmla="*/ 1594156 h 2344739"/>
              <a:gd name="connsiteX48" fmla="*/ 10471418 w 12193149"/>
              <a:gd name="connsiteY48" fmla="*/ 1601693 h 2344739"/>
              <a:gd name="connsiteX49" fmla="*/ 10377042 w 12193149"/>
              <a:gd name="connsiteY49" fmla="*/ 1644598 h 2344739"/>
              <a:gd name="connsiteX50" fmla="*/ 10319338 w 12193149"/>
              <a:gd name="connsiteY50" fmla="*/ 1666221 h 2344739"/>
              <a:gd name="connsiteX51" fmla="*/ 10295467 w 12193149"/>
              <a:gd name="connsiteY51" fmla="*/ 1668079 h 2344739"/>
              <a:gd name="connsiteX52" fmla="*/ 10263443 w 12193149"/>
              <a:gd name="connsiteY52" fmla="*/ 1674948 h 2344739"/>
              <a:gd name="connsiteX53" fmla="*/ 10205418 w 12193149"/>
              <a:gd name="connsiteY53" fmla="*/ 1682149 h 2344739"/>
              <a:gd name="connsiteX54" fmla="*/ 10177759 w 12193149"/>
              <a:gd name="connsiteY54" fmla="*/ 1692943 h 2344739"/>
              <a:gd name="connsiteX55" fmla="*/ 10165070 w 12193149"/>
              <a:gd name="connsiteY55" fmla="*/ 1693739 h 2344739"/>
              <a:gd name="connsiteX56" fmla="*/ 10156308 w 12193149"/>
              <a:gd name="connsiteY56" fmla="*/ 1707487 h 2344739"/>
              <a:gd name="connsiteX57" fmla="*/ 10118267 w 12193149"/>
              <a:gd name="connsiteY57" fmla="*/ 1731142 h 2344739"/>
              <a:gd name="connsiteX58" fmla="*/ 10083317 w 12193149"/>
              <a:gd name="connsiteY58" fmla="*/ 1743296 h 2344739"/>
              <a:gd name="connsiteX59" fmla="*/ 10040388 w 12193149"/>
              <a:gd name="connsiteY59" fmla="*/ 1741632 h 2344739"/>
              <a:gd name="connsiteX60" fmla="*/ 9961167 w 12193149"/>
              <a:gd name="connsiteY60" fmla="*/ 1757147 h 2344739"/>
              <a:gd name="connsiteX61" fmla="*/ 9848940 w 12193149"/>
              <a:gd name="connsiteY61" fmla="*/ 1763915 h 2344739"/>
              <a:gd name="connsiteX62" fmla="*/ 9729457 w 12193149"/>
              <a:gd name="connsiteY62" fmla="*/ 1784122 h 2344739"/>
              <a:gd name="connsiteX63" fmla="*/ 9613704 w 12193149"/>
              <a:gd name="connsiteY63" fmla="*/ 1812371 h 2344739"/>
              <a:gd name="connsiteX64" fmla="*/ 9338590 w 12193149"/>
              <a:gd name="connsiteY64" fmla="*/ 1869293 h 2344739"/>
              <a:gd name="connsiteX65" fmla="*/ 9232518 w 12193149"/>
              <a:gd name="connsiteY65" fmla="*/ 1893149 h 2344739"/>
              <a:gd name="connsiteX66" fmla="*/ 9156690 w 12193149"/>
              <a:gd name="connsiteY66" fmla="*/ 1903228 h 2344739"/>
              <a:gd name="connsiteX67" fmla="*/ 9054601 w 12193149"/>
              <a:gd name="connsiteY67" fmla="*/ 1910755 h 2344739"/>
              <a:gd name="connsiteX68" fmla="*/ 9006634 w 12193149"/>
              <a:gd name="connsiteY68" fmla="*/ 1914040 h 2344739"/>
              <a:gd name="connsiteX69" fmla="*/ 9006349 w 12193149"/>
              <a:gd name="connsiteY69" fmla="*/ 1913800 h 2344739"/>
              <a:gd name="connsiteX70" fmla="*/ 8997380 w 12193149"/>
              <a:gd name="connsiteY70" fmla="*/ 1915011 h 2344739"/>
              <a:gd name="connsiteX71" fmla="*/ 8991542 w 12193149"/>
              <a:gd name="connsiteY71" fmla="*/ 1917072 h 2344739"/>
              <a:gd name="connsiteX72" fmla="*/ 8975485 w 12193149"/>
              <a:gd name="connsiteY72" fmla="*/ 1920298 h 2344739"/>
              <a:gd name="connsiteX73" fmla="*/ 8969159 w 12193149"/>
              <a:gd name="connsiteY73" fmla="*/ 1919598 h 2344739"/>
              <a:gd name="connsiteX74" fmla="*/ 8964196 w 12193149"/>
              <a:gd name="connsiteY74" fmla="*/ 1917373 h 2344739"/>
              <a:gd name="connsiteX75" fmla="*/ 8930136 w 12193149"/>
              <a:gd name="connsiteY75" fmla="*/ 1914185 h 2344739"/>
              <a:gd name="connsiteX76" fmla="*/ 8753592 w 12193149"/>
              <a:gd name="connsiteY76" fmla="*/ 1933417 h 2344739"/>
              <a:gd name="connsiteX77" fmla="*/ 8708995 w 12193149"/>
              <a:gd name="connsiteY77" fmla="*/ 1935518 h 2344739"/>
              <a:gd name="connsiteX78" fmla="*/ 8597219 w 12193149"/>
              <a:gd name="connsiteY78" fmla="*/ 1944090 h 2344739"/>
              <a:gd name="connsiteX79" fmla="*/ 8526378 w 12193149"/>
              <a:gd name="connsiteY79" fmla="*/ 1929248 h 2344739"/>
              <a:gd name="connsiteX80" fmla="*/ 8512131 w 12193149"/>
              <a:gd name="connsiteY80" fmla="*/ 1935163 h 2344739"/>
              <a:gd name="connsiteX81" fmla="*/ 8507315 w 12193149"/>
              <a:gd name="connsiteY81" fmla="*/ 1938164 h 2344739"/>
              <a:gd name="connsiteX82" fmla="*/ 8499116 w 12193149"/>
              <a:gd name="connsiteY82" fmla="*/ 1940902 h 2344739"/>
              <a:gd name="connsiteX83" fmla="*/ 8498742 w 12193149"/>
              <a:gd name="connsiteY83" fmla="*/ 1940723 h 2344739"/>
              <a:gd name="connsiteX84" fmla="*/ 8491397 w 12193149"/>
              <a:gd name="connsiteY84" fmla="*/ 1943773 h 2344739"/>
              <a:gd name="connsiteX85" fmla="*/ 8368330 w 12193149"/>
              <a:gd name="connsiteY85" fmla="*/ 1957815 h 2344739"/>
              <a:gd name="connsiteX86" fmla="*/ 8354947 w 12193149"/>
              <a:gd name="connsiteY86" fmla="*/ 1958009 h 2344739"/>
              <a:gd name="connsiteX87" fmla="*/ 8321252 w 12193149"/>
              <a:gd name="connsiteY87" fmla="*/ 1974587 h 2344739"/>
              <a:gd name="connsiteX88" fmla="*/ 8315581 w 12193149"/>
              <a:gd name="connsiteY88" fmla="*/ 1974913 h 2344739"/>
              <a:gd name="connsiteX89" fmla="*/ 8296322 w 12193149"/>
              <a:gd name="connsiteY89" fmla="*/ 1988808 h 2344739"/>
              <a:gd name="connsiteX90" fmla="*/ 8285424 w 12193149"/>
              <a:gd name="connsiteY90" fmla="*/ 1994631 h 2344739"/>
              <a:gd name="connsiteX91" fmla="*/ 8284298 w 12193149"/>
              <a:gd name="connsiteY91" fmla="*/ 1999074 h 2344739"/>
              <a:gd name="connsiteX92" fmla="*/ 8267224 w 12193149"/>
              <a:gd name="connsiteY92" fmla="*/ 2006249 h 2344739"/>
              <a:gd name="connsiteX93" fmla="*/ 8264525 w 12193149"/>
              <a:gd name="connsiteY93" fmla="*/ 2006019 h 2344739"/>
              <a:gd name="connsiteX94" fmla="*/ 8253181 w 12193149"/>
              <a:gd name="connsiteY94" fmla="*/ 2015862 h 2344739"/>
              <a:gd name="connsiteX95" fmla="*/ 8246982 w 12193149"/>
              <a:gd name="connsiteY95" fmla="*/ 2028854 h 2344739"/>
              <a:gd name="connsiteX96" fmla="*/ 8091420 w 12193149"/>
              <a:gd name="connsiteY96" fmla="*/ 2075015 h 2344739"/>
              <a:gd name="connsiteX97" fmla="*/ 7906555 w 12193149"/>
              <a:gd name="connsiteY97" fmla="*/ 2116988 h 2344739"/>
              <a:gd name="connsiteX98" fmla="*/ 7719893 w 12193149"/>
              <a:gd name="connsiteY98" fmla="*/ 2142703 h 2344739"/>
              <a:gd name="connsiteX99" fmla="*/ 7615495 w 12193149"/>
              <a:gd name="connsiteY99" fmla="*/ 2139232 h 2344739"/>
              <a:gd name="connsiteX100" fmla="*/ 7528691 w 12193149"/>
              <a:gd name="connsiteY100" fmla="*/ 2145060 h 2344739"/>
              <a:gd name="connsiteX101" fmla="*/ 7520719 w 12193149"/>
              <a:gd name="connsiteY101" fmla="*/ 2147613 h 2344739"/>
              <a:gd name="connsiteX102" fmla="*/ 7508559 w 12193149"/>
              <a:gd name="connsiteY102" fmla="*/ 2148948 h 2344739"/>
              <a:gd name="connsiteX103" fmla="*/ 7508188 w 12193149"/>
              <a:gd name="connsiteY103" fmla="*/ 2148621 h 2344739"/>
              <a:gd name="connsiteX104" fmla="*/ 7496943 w 12193149"/>
              <a:gd name="connsiteY104" fmla="*/ 2150573 h 2344739"/>
              <a:gd name="connsiteX105" fmla="*/ 7219707 w 12193149"/>
              <a:gd name="connsiteY105" fmla="*/ 2156680 h 2344739"/>
              <a:gd name="connsiteX106" fmla="*/ 7202249 w 12193149"/>
              <a:gd name="connsiteY106" fmla="*/ 2161230 h 2344739"/>
              <a:gd name="connsiteX107" fmla="*/ 7198152 w 12193149"/>
              <a:gd name="connsiteY107" fmla="*/ 2166588 h 2344739"/>
              <a:gd name="connsiteX108" fmla="*/ 7171956 w 12193149"/>
              <a:gd name="connsiteY108" fmla="*/ 2171236 h 2344739"/>
              <a:gd name="connsiteX109" fmla="*/ 7098136 w 12193149"/>
              <a:gd name="connsiteY109" fmla="*/ 2183464 h 2344739"/>
              <a:gd name="connsiteX110" fmla="*/ 7019644 w 12193149"/>
              <a:gd name="connsiteY110" fmla="*/ 2183090 h 2344739"/>
              <a:gd name="connsiteX111" fmla="*/ 6905294 w 12193149"/>
              <a:gd name="connsiteY111" fmla="*/ 2212596 h 2344739"/>
              <a:gd name="connsiteX112" fmla="*/ 6709370 w 12193149"/>
              <a:gd name="connsiteY112" fmla="*/ 2240551 h 2344739"/>
              <a:gd name="connsiteX113" fmla="*/ 6550602 w 12193149"/>
              <a:gd name="connsiteY113" fmla="*/ 2269327 h 2344739"/>
              <a:gd name="connsiteX114" fmla="*/ 6318708 w 12193149"/>
              <a:gd name="connsiteY114" fmla="*/ 2316127 h 2344739"/>
              <a:gd name="connsiteX115" fmla="*/ 6169822 w 12193149"/>
              <a:gd name="connsiteY115" fmla="*/ 2318214 h 2344739"/>
              <a:gd name="connsiteX116" fmla="*/ 6074996 w 12193149"/>
              <a:gd name="connsiteY116" fmla="*/ 2338676 h 2344739"/>
              <a:gd name="connsiteX117" fmla="*/ 6069677 w 12193149"/>
              <a:gd name="connsiteY117" fmla="*/ 2337139 h 2344739"/>
              <a:gd name="connsiteX118" fmla="*/ 6049786 w 12193149"/>
              <a:gd name="connsiteY118" fmla="*/ 2337822 h 2344739"/>
              <a:gd name="connsiteX119" fmla="*/ 6042433 w 12193149"/>
              <a:gd name="connsiteY119" fmla="*/ 2329473 h 2344739"/>
              <a:gd name="connsiteX120" fmla="*/ 6011238 w 12193149"/>
              <a:gd name="connsiteY120" fmla="*/ 2324380 h 2344739"/>
              <a:gd name="connsiteX121" fmla="*/ 5958523 w 12193149"/>
              <a:gd name="connsiteY121" fmla="*/ 2328024 h 2344739"/>
              <a:gd name="connsiteX122" fmla="*/ 5760067 w 12193149"/>
              <a:gd name="connsiteY122" fmla="*/ 2343716 h 2344739"/>
              <a:gd name="connsiteX123" fmla="*/ 5628108 w 12193149"/>
              <a:gd name="connsiteY123" fmla="*/ 2344739 h 2344739"/>
              <a:gd name="connsiteX124" fmla="*/ 5472054 w 12193149"/>
              <a:gd name="connsiteY124" fmla="*/ 2330719 h 2344739"/>
              <a:gd name="connsiteX125" fmla="*/ 5433909 w 12193149"/>
              <a:gd name="connsiteY125" fmla="*/ 2319466 h 2344739"/>
              <a:gd name="connsiteX126" fmla="*/ 5382817 w 12193149"/>
              <a:gd name="connsiteY126" fmla="*/ 2301764 h 2344739"/>
              <a:gd name="connsiteX127" fmla="*/ 5262912 w 12193149"/>
              <a:gd name="connsiteY127" fmla="*/ 2281347 h 2344739"/>
              <a:gd name="connsiteX128" fmla="*/ 5224109 w 12193149"/>
              <a:gd name="connsiteY128" fmla="*/ 2270223 h 2344739"/>
              <a:gd name="connsiteX129" fmla="*/ 5175808 w 12193149"/>
              <a:gd name="connsiteY129" fmla="*/ 2267233 h 2344739"/>
              <a:gd name="connsiteX130" fmla="*/ 5157702 w 12193149"/>
              <a:gd name="connsiteY130" fmla="*/ 2260010 h 2344739"/>
              <a:gd name="connsiteX131" fmla="*/ 5143747 w 12193149"/>
              <a:gd name="connsiteY131" fmla="*/ 2256610 h 2344739"/>
              <a:gd name="connsiteX132" fmla="*/ 5140744 w 12193149"/>
              <a:gd name="connsiteY132" fmla="*/ 2254509 h 2344739"/>
              <a:gd name="connsiteX133" fmla="*/ 5122807 w 12193149"/>
              <a:gd name="connsiteY133" fmla="*/ 2243656 h 2344739"/>
              <a:gd name="connsiteX134" fmla="*/ 5066938 w 12193149"/>
              <a:gd name="connsiteY134" fmla="*/ 2250227 h 2344739"/>
              <a:gd name="connsiteX135" fmla="*/ 5012662 w 12193149"/>
              <a:gd name="connsiteY135" fmla="*/ 2233846 h 2344739"/>
              <a:gd name="connsiteX136" fmla="*/ 4841589 w 12193149"/>
              <a:gd name="connsiteY136" fmla="*/ 2209829 h 2344739"/>
              <a:gd name="connsiteX137" fmla="*/ 4763595 w 12193149"/>
              <a:gd name="connsiteY137" fmla="*/ 2182061 h 2344739"/>
              <a:gd name="connsiteX138" fmla="*/ 4724334 w 12193149"/>
              <a:gd name="connsiteY138" fmla="*/ 2173047 h 2344739"/>
              <a:gd name="connsiteX139" fmla="*/ 4722324 w 12193149"/>
              <a:gd name="connsiteY139" fmla="*/ 2172298 h 2344739"/>
              <a:gd name="connsiteX140" fmla="*/ 4723259 w 12193149"/>
              <a:gd name="connsiteY140" fmla="*/ 2172087 h 2344739"/>
              <a:gd name="connsiteX141" fmla="*/ 4718350 w 12193149"/>
              <a:gd name="connsiteY141" fmla="*/ 2170817 h 2344739"/>
              <a:gd name="connsiteX142" fmla="*/ 4722324 w 12193149"/>
              <a:gd name="connsiteY142" fmla="*/ 2172298 h 2344739"/>
              <a:gd name="connsiteX143" fmla="*/ 4716674 w 12193149"/>
              <a:gd name="connsiteY143" fmla="*/ 2173573 h 2344739"/>
              <a:gd name="connsiteX144" fmla="*/ 4516962 w 12193149"/>
              <a:gd name="connsiteY144" fmla="*/ 2163671 h 2344739"/>
              <a:gd name="connsiteX145" fmla="*/ 4429691 w 12193149"/>
              <a:gd name="connsiteY145" fmla="*/ 2153020 h 2344739"/>
              <a:gd name="connsiteX146" fmla="*/ 4364023 w 12193149"/>
              <a:gd name="connsiteY146" fmla="*/ 2151674 h 2344739"/>
              <a:gd name="connsiteX147" fmla="*/ 4318114 w 12193149"/>
              <a:gd name="connsiteY147" fmla="*/ 2158289 h 2344739"/>
              <a:gd name="connsiteX148" fmla="*/ 4316258 w 12193149"/>
              <a:gd name="connsiteY148" fmla="*/ 2156948 h 2344739"/>
              <a:gd name="connsiteX149" fmla="*/ 4296292 w 12193149"/>
              <a:gd name="connsiteY149" fmla="*/ 2155069 h 2344739"/>
              <a:gd name="connsiteX150" fmla="*/ 4291212 w 12193149"/>
              <a:gd name="connsiteY150" fmla="*/ 2157986 h 2344739"/>
              <a:gd name="connsiteX151" fmla="*/ 4277290 w 12193149"/>
              <a:gd name="connsiteY151" fmla="*/ 2157740 h 2344739"/>
              <a:gd name="connsiteX152" fmla="*/ 4249265 w 12193149"/>
              <a:gd name="connsiteY152" fmla="*/ 2160064 h 2344739"/>
              <a:gd name="connsiteX153" fmla="*/ 4203199 w 12193149"/>
              <a:gd name="connsiteY153" fmla="*/ 2157269 h 2344739"/>
              <a:gd name="connsiteX154" fmla="*/ 4202893 w 12193149"/>
              <a:gd name="connsiteY154" fmla="*/ 2156010 h 2344739"/>
              <a:gd name="connsiteX155" fmla="*/ 4192396 w 12193149"/>
              <a:gd name="connsiteY155" fmla="*/ 2150376 h 2344739"/>
              <a:gd name="connsiteX156" fmla="*/ 4143893 w 12193149"/>
              <a:gd name="connsiteY156" fmla="*/ 2134511 h 2344739"/>
              <a:gd name="connsiteX157" fmla="*/ 4084245 w 12193149"/>
              <a:gd name="connsiteY157" fmla="*/ 2107978 h 2344739"/>
              <a:gd name="connsiteX158" fmla="*/ 4075694 w 12193149"/>
              <a:gd name="connsiteY158" fmla="*/ 2107143 h 2344739"/>
              <a:gd name="connsiteX159" fmla="*/ 4075575 w 12193149"/>
              <a:gd name="connsiteY159" fmla="*/ 2106844 h 2344739"/>
              <a:gd name="connsiteX160" fmla="*/ 4066658 w 12193149"/>
              <a:gd name="connsiteY160" fmla="*/ 2105400 h 2344739"/>
              <a:gd name="connsiteX161" fmla="*/ 4060102 w 12193149"/>
              <a:gd name="connsiteY161" fmla="*/ 2105618 h 2344739"/>
              <a:gd name="connsiteX162" fmla="*/ 4043512 w 12193149"/>
              <a:gd name="connsiteY162" fmla="*/ 2103997 h 2344739"/>
              <a:gd name="connsiteX163" fmla="*/ 4038145 w 12193149"/>
              <a:gd name="connsiteY163" fmla="*/ 2101563 h 2344739"/>
              <a:gd name="connsiteX164" fmla="*/ 4036511 w 12193149"/>
              <a:gd name="connsiteY164" fmla="*/ 2097896 h 2344739"/>
              <a:gd name="connsiteX165" fmla="*/ 4034926 w 12193149"/>
              <a:gd name="connsiteY165" fmla="*/ 2098131 h 2344739"/>
              <a:gd name="connsiteX166" fmla="*/ 4005686 w 12193149"/>
              <a:gd name="connsiteY166" fmla="*/ 2085563 h 2344739"/>
              <a:gd name="connsiteX167" fmla="*/ 3937994 w 12193149"/>
              <a:gd name="connsiteY167" fmla="*/ 2068106 h 2344739"/>
              <a:gd name="connsiteX168" fmla="*/ 3898423 w 12193149"/>
              <a:gd name="connsiteY168" fmla="*/ 2062451 h 2344739"/>
              <a:gd name="connsiteX169" fmla="*/ 3790908 w 12193149"/>
              <a:gd name="connsiteY169" fmla="*/ 2042213 h 2344739"/>
              <a:gd name="connsiteX170" fmla="*/ 3683661 w 12193149"/>
              <a:gd name="connsiteY170" fmla="*/ 2018290 h 2344739"/>
              <a:gd name="connsiteX171" fmla="*/ 3611183 w 12193149"/>
              <a:gd name="connsiteY171" fmla="*/ 1986019 h 2344739"/>
              <a:gd name="connsiteX172" fmla="*/ 3605003 w 12193149"/>
              <a:gd name="connsiteY172" fmla="*/ 1987381 h 2344739"/>
              <a:gd name="connsiteX173" fmla="*/ 3595884 w 12193149"/>
              <a:gd name="connsiteY173" fmla="*/ 1987545 h 2344739"/>
              <a:gd name="connsiteX174" fmla="*/ 3595649 w 12193149"/>
              <a:gd name="connsiteY174" fmla="*/ 1987276 h 2344739"/>
              <a:gd name="connsiteX175" fmla="*/ 3587126 w 12193149"/>
              <a:gd name="connsiteY175" fmla="*/ 1987966 h 2344739"/>
              <a:gd name="connsiteX176" fmla="*/ 3537283 w 12193149"/>
              <a:gd name="connsiteY176" fmla="*/ 1978267 h 2344739"/>
              <a:gd name="connsiteX177" fmla="*/ 3474371 w 12193149"/>
              <a:gd name="connsiteY177" fmla="*/ 1974606 h 2344739"/>
              <a:gd name="connsiteX178" fmla="*/ 3401876 w 12193149"/>
              <a:gd name="connsiteY178" fmla="*/ 1962558 h 2344739"/>
              <a:gd name="connsiteX179" fmla="*/ 3365036 w 12193149"/>
              <a:gd name="connsiteY179" fmla="*/ 1979510 h 2344739"/>
              <a:gd name="connsiteX180" fmla="*/ 3345174 w 12193149"/>
              <a:gd name="connsiteY180" fmla="*/ 1981192 h 2344739"/>
              <a:gd name="connsiteX181" fmla="*/ 3342846 w 12193149"/>
              <a:gd name="connsiteY181" fmla="*/ 1980217 h 2344739"/>
              <a:gd name="connsiteX182" fmla="*/ 3263504 w 12193149"/>
              <a:gd name="connsiteY182" fmla="*/ 1986094 h 2344739"/>
              <a:gd name="connsiteX183" fmla="*/ 3143704 w 12193149"/>
              <a:gd name="connsiteY183" fmla="*/ 1993869 h 2344739"/>
              <a:gd name="connsiteX184" fmla="*/ 3031439 w 12193149"/>
              <a:gd name="connsiteY184" fmla="*/ 1996512 h 2344739"/>
              <a:gd name="connsiteX185" fmla="*/ 2782717 w 12193149"/>
              <a:gd name="connsiteY185" fmla="*/ 2018333 h 2344739"/>
              <a:gd name="connsiteX186" fmla="*/ 2647675 w 12193149"/>
              <a:gd name="connsiteY186" fmla="*/ 2028869 h 2344739"/>
              <a:gd name="connsiteX187" fmla="*/ 2569176 w 12193149"/>
              <a:gd name="connsiteY187" fmla="*/ 2002628 h 2344739"/>
              <a:gd name="connsiteX188" fmla="*/ 2444403 w 12193149"/>
              <a:gd name="connsiteY188" fmla="*/ 2016529 h 2344739"/>
              <a:gd name="connsiteX189" fmla="*/ 2316260 w 12193149"/>
              <a:gd name="connsiteY189" fmla="*/ 2024996 h 2344739"/>
              <a:gd name="connsiteX190" fmla="*/ 2209726 w 12193149"/>
              <a:gd name="connsiteY190" fmla="*/ 2019763 h 2344739"/>
              <a:gd name="connsiteX191" fmla="*/ 2095813 w 12193149"/>
              <a:gd name="connsiteY191" fmla="*/ 2003052 h 2344739"/>
              <a:gd name="connsiteX192" fmla="*/ 1998504 w 12193149"/>
              <a:gd name="connsiteY192" fmla="*/ 1995032 h 2344739"/>
              <a:gd name="connsiteX193" fmla="*/ 1929320 w 12193149"/>
              <a:gd name="connsiteY193" fmla="*/ 2016977 h 2344739"/>
              <a:gd name="connsiteX194" fmla="*/ 1922798 w 12193149"/>
              <a:gd name="connsiteY194" fmla="*/ 2012146 h 2344739"/>
              <a:gd name="connsiteX195" fmla="*/ 1874228 w 12193149"/>
              <a:gd name="connsiteY195" fmla="*/ 2013741 h 2344739"/>
              <a:gd name="connsiteX196" fmla="*/ 1787803 w 12193149"/>
              <a:gd name="connsiteY196" fmla="*/ 2041363 h 2344739"/>
              <a:gd name="connsiteX197" fmla="*/ 1739352 w 12193149"/>
              <a:gd name="connsiteY197" fmla="*/ 2036312 h 2344739"/>
              <a:gd name="connsiteX198" fmla="*/ 1676219 w 12193149"/>
              <a:gd name="connsiteY198" fmla="*/ 2019963 h 2344739"/>
              <a:gd name="connsiteX199" fmla="*/ 1609817 w 12193149"/>
              <a:gd name="connsiteY199" fmla="*/ 2013066 h 2344739"/>
              <a:gd name="connsiteX200" fmla="*/ 1497258 w 12193149"/>
              <a:gd name="connsiteY200" fmla="*/ 1987476 h 2344739"/>
              <a:gd name="connsiteX201" fmla="*/ 1151127 w 12193149"/>
              <a:gd name="connsiteY201" fmla="*/ 1938041 h 2344739"/>
              <a:gd name="connsiteX202" fmla="*/ 859417 w 12193149"/>
              <a:gd name="connsiteY202" fmla="*/ 1928608 h 2344739"/>
              <a:gd name="connsiteX203" fmla="*/ 838688 w 12193149"/>
              <a:gd name="connsiteY203" fmla="*/ 1929821 h 2344739"/>
              <a:gd name="connsiteX204" fmla="*/ 817957 w 12193149"/>
              <a:gd name="connsiteY204" fmla="*/ 1927857 h 2344739"/>
              <a:gd name="connsiteX205" fmla="*/ 812654 w 12193149"/>
              <a:gd name="connsiteY205" fmla="*/ 1930751 h 2344739"/>
              <a:gd name="connsiteX206" fmla="*/ 721195 w 12193149"/>
              <a:gd name="connsiteY206" fmla="*/ 1929661 h 2344739"/>
              <a:gd name="connsiteX207" fmla="*/ 720890 w 12193149"/>
              <a:gd name="connsiteY207" fmla="*/ 1928399 h 2344739"/>
              <a:gd name="connsiteX208" fmla="*/ 710023 w 12193149"/>
              <a:gd name="connsiteY208" fmla="*/ 1922722 h 2344739"/>
              <a:gd name="connsiteX209" fmla="*/ 597940 w 12193149"/>
              <a:gd name="connsiteY209" fmla="*/ 1879864 h 2344739"/>
              <a:gd name="connsiteX210" fmla="*/ 579683 w 12193149"/>
              <a:gd name="connsiteY210" fmla="*/ 1877212 h 2344739"/>
              <a:gd name="connsiteX211" fmla="*/ 572865 w 12193149"/>
              <a:gd name="connsiteY211" fmla="*/ 1877401 h 2344739"/>
              <a:gd name="connsiteX212" fmla="*/ 446247 w 12193149"/>
              <a:gd name="connsiteY212" fmla="*/ 1839371 h 2344739"/>
              <a:gd name="connsiteX213" fmla="*/ 405163 w 12193149"/>
              <a:gd name="connsiteY213" fmla="*/ 1833548 h 2344739"/>
              <a:gd name="connsiteX214" fmla="*/ 293583 w 12193149"/>
              <a:gd name="connsiteY214" fmla="*/ 1812852 h 2344739"/>
              <a:gd name="connsiteX215" fmla="*/ 119529 w 12193149"/>
              <a:gd name="connsiteY215" fmla="*/ 1761047 h 2344739"/>
              <a:gd name="connsiteX216" fmla="*/ 16674 w 12193149"/>
              <a:gd name="connsiteY216" fmla="*/ 1758191 h 2344739"/>
              <a:gd name="connsiteX217" fmla="*/ 1150 w 12193149"/>
              <a:gd name="connsiteY217" fmla="*/ 1752722 h 2344739"/>
              <a:gd name="connsiteX218" fmla="*/ 1148 w 12193149"/>
              <a:gd name="connsiteY218" fmla="*/ 222213 h 2344739"/>
              <a:gd name="connsiteX219" fmla="*/ 1148 w 12193149"/>
              <a:gd name="connsiteY219"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8 w 12193149"/>
              <a:gd name="connsiteY3" fmla="*/ 389190 h 2344739"/>
              <a:gd name="connsiteX4" fmla="*/ 12193149 w 12193149"/>
              <a:gd name="connsiteY4" fmla="*/ 579739 h 2344739"/>
              <a:gd name="connsiteX5" fmla="*/ 12185986 w 12193149"/>
              <a:gd name="connsiteY5" fmla="*/ 584189 h 2344739"/>
              <a:gd name="connsiteX6" fmla="*/ 12156363 w 12193149"/>
              <a:gd name="connsiteY6" fmla="*/ 597366 h 2344739"/>
              <a:gd name="connsiteX7" fmla="*/ 12139215 w 12193149"/>
              <a:gd name="connsiteY7" fmla="*/ 623179 h 2344739"/>
              <a:gd name="connsiteX8" fmla="*/ 12126327 w 12193149"/>
              <a:gd name="connsiteY8" fmla="*/ 624690 h 2344739"/>
              <a:gd name="connsiteX9" fmla="*/ 12124007 w 12193149"/>
              <a:gd name="connsiteY9" fmla="*/ 624794 h 2344739"/>
              <a:gd name="connsiteX10" fmla="*/ 12116854 w 12193149"/>
              <a:gd name="connsiteY10" fmla="*/ 628608 h 2344739"/>
              <a:gd name="connsiteX11" fmla="*/ 12099497 w 12193149"/>
              <a:gd name="connsiteY11" fmla="*/ 628139 h 2344739"/>
              <a:gd name="connsiteX12" fmla="*/ 12087073 w 12193149"/>
              <a:gd name="connsiteY12" fmla="*/ 636341 h 2344739"/>
              <a:gd name="connsiteX13" fmla="*/ 12031073 w 12193149"/>
              <a:gd name="connsiteY13" fmla="*/ 680009 h 2344739"/>
              <a:gd name="connsiteX14" fmla="*/ 11995833 w 12193149"/>
              <a:gd name="connsiteY14" fmla="*/ 703458 h 2344739"/>
              <a:gd name="connsiteX15" fmla="*/ 11979717 w 12193149"/>
              <a:gd name="connsiteY15" fmla="*/ 708161 h 2344739"/>
              <a:gd name="connsiteX16" fmla="*/ 11959046 w 12193149"/>
              <a:gd name="connsiteY16" fmla="*/ 717558 h 2344739"/>
              <a:gd name="connsiteX17" fmla="*/ 11920454 w 12193149"/>
              <a:gd name="connsiteY17" fmla="*/ 730883 h 2344739"/>
              <a:gd name="connsiteX18" fmla="*/ 11903656 w 12193149"/>
              <a:gd name="connsiteY18" fmla="*/ 742426 h 2344739"/>
              <a:gd name="connsiteX19" fmla="*/ 11895048 w 12193149"/>
              <a:gd name="connsiteY19" fmla="*/ 744791 h 2344739"/>
              <a:gd name="connsiteX20" fmla="*/ 11891968 w 12193149"/>
              <a:gd name="connsiteY20" fmla="*/ 755729 h 2344739"/>
              <a:gd name="connsiteX21" fmla="*/ 11870776 w 12193149"/>
              <a:gd name="connsiteY21" fmla="*/ 777816 h 2344739"/>
              <a:gd name="connsiteX22" fmla="*/ 11813376 w 12193149"/>
              <a:gd name="connsiteY22" fmla="*/ 797659 h 2344739"/>
              <a:gd name="connsiteX23" fmla="*/ 11590693 w 12193149"/>
              <a:gd name="connsiteY23" fmla="*/ 963777 h 2344739"/>
              <a:gd name="connsiteX24" fmla="*/ 11506817 w 12193149"/>
              <a:gd name="connsiteY24" fmla="*/ 1033623 h 2344739"/>
              <a:gd name="connsiteX25" fmla="*/ 11280332 w 12193149"/>
              <a:gd name="connsiteY25" fmla="*/ 1223571 h 2344739"/>
              <a:gd name="connsiteX26" fmla="*/ 11228309 w 12193149"/>
              <a:gd name="connsiteY26" fmla="*/ 1276236 h 2344739"/>
              <a:gd name="connsiteX27" fmla="*/ 11218087 w 12193149"/>
              <a:gd name="connsiteY27" fmla="*/ 1275961 h 2344739"/>
              <a:gd name="connsiteX28" fmla="*/ 11217184 w 12193149"/>
              <a:gd name="connsiteY28" fmla="*/ 1275018 h 2344739"/>
              <a:gd name="connsiteX29" fmla="*/ 11188885 w 12193149"/>
              <a:gd name="connsiteY29" fmla="*/ 1292383 h 2344739"/>
              <a:gd name="connsiteX30" fmla="*/ 11184501 w 12193149"/>
              <a:gd name="connsiteY30" fmla="*/ 1292525 h 2344739"/>
              <a:gd name="connsiteX31" fmla="*/ 11166854 w 12193149"/>
              <a:gd name="connsiteY31" fmla="*/ 1306612 h 2344739"/>
              <a:gd name="connsiteX32" fmla="*/ 11157311 w 12193149"/>
              <a:gd name="connsiteY32" fmla="*/ 1312414 h 2344739"/>
              <a:gd name="connsiteX33" fmla="*/ 11155496 w 12193149"/>
              <a:gd name="connsiteY33" fmla="*/ 1317097 h 2344739"/>
              <a:gd name="connsiteX34" fmla="*/ 11140961 w 12193149"/>
              <a:gd name="connsiteY34" fmla="*/ 1324115 h 2344739"/>
              <a:gd name="connsiteX35" fmla="*/ 11138961 w 12193149"/>
              <a:gd name="connsiteY35" fmla="*/ 1323772 h 2344739"/>
              <a:gd name="connsiteX36" fmla="*/ 11128208 w 12193149"/>
              <a:gd name="connsiteY36" fmla="*/ 1333832 h 2344739"/>
              <a:gd name="connsiteX37" fmla="*/ 11120691 w 12193149"/>
              <a:gd name="connsiteY37" fmla="*/ 1347424 h 2344739"/>
              <a:gd name="connsiteX38" fmla="*/ 10894683 w 12193149"/>
              <a:gd name="connsiteY38" fmla="*/ 1473399 h 2344739"/>
              <a:gd name="connsiteX39" fmla="*/ 10773300 w 12193149"/>
              <a:gd name="connsiteY39" fmla="*/ 1523191 h 2344739"/>
              <a:gd name="connsiteX40" fmla="*/ 10627668 w 12193149"/>
              <a:gd name="connsiteY40" fmla="*/ 1559229 h 2344739"/>
              <a:gd name="connsiteX41" fmla="*/ 10581895 w 12193149"/>
              <a:gd name="connsiteY41" fmla="*/ 1568689 h 2344739"/>
              <a:gd name="connsiteX42" fmla="*/ 10547790 w 12193149"/>
              <a:gd name="connsiteY42" fmla="*/ 1598423 h 2344739"/>
              <a:gd name="connsiteX43" fmla="*/ 10529643 w 12193149"/>
              <a:gd name="connsiteY43" fmla="*/ 1596907 h 2344739"/>
              <a:gd name="connsiteX44" fmla="*/ 10526446 w 12193149"/>
              <a:gd name="connsiteY44" fmla="*/ 1596411 h 2344739"/>
              <a:gd name="connsiteX45" fmla="*/ 10515129 w 12193149"/>
              <a:gd name="connsiteY45" fmla="*/ 1599537 h 2344739"/>
              <a:gd name="connsiteX46" fmla="*/ 10491735 w 12193149"/>
              <a:gd name="connsiteY46" fmla="*/ 1594156 h 2344739"/>
              <a:gd name="connsiteX47" fmla="*/ 10471418 w 12193149"/>
              <a:gd name="connsiteY47" fmla="*/ 1601693 h 2344739"/>
              <a:gd name="connsiteX48" fmla="*/ 10377042 w 12193149"/>
              <a:gd name="connsiteY48" fmla="*/ 1644598 h 2344739"/>
              <a:gd name="connsiteX49" fmla="*/ 10319338 w 12193149"/>
              <a:gd name="connsiteY49" fmla="*/ 1666221 h 2344739"/>
              <a:gd name="connsiteX50" fmla="*/ 10295467 w 12193149"/>
              <a:gd name="connsiteY50" fmla="*/ 1668079 h 2344739"/>
              <a:gd name="connsiteX51" fmla="*/ 10263443 w 12193149"/>
              <a:gd name="connsiteY51" fmla="*/ 1674948 h 2344739"/>
              <a:gd name="connsiteX52" fmla="*/ 10205418 w 12193149"/>
              <a:gd name="connsiteY52" fmla="*/ 1682149 h 2344739"/>
              <a:gd name="connsiteX53" fmla="*/ 10177759 w 12193149"/>
              <a:gd name="connsiteY53" fmla="*/ 1692943 h 2344739"/>
              <a:gd name="connsiteX54" fmla="*/ 10165070 w 12193149"/>
              <a:gd name="connsiteY54" fmla="*/ 1693739 h 2344739"/>
              <a:gd name="connsiteX55" fmla="*/ 10156308 w 12193149"/>
              <a:gd name="connsiteY55" fmla="*/ 1707487 h 2344739"/>
              <a:gd name="connsiteX56" fmla="*/ 10118267 w 12193149"/>
              <a:gd name="connsiteY56" fmla="*/ 1731142 h 2344739"/>
              <a:gd name="connsiteX57" fmla="*/ 10083317 w 12193149"/>
              <a:gd name="connsiteY57" fmla="*/ 1743296 h 2344739"/>
              <a:gd name="connsiteX58" fmla="*/ 10040388 w 12193149"/>
              <a:gd name="connsiteY58" fmla="*/ 1741632 h 2344739"/>
              <a:gd name="connsiteX59" fmla="*/ 9961167 w 12193149"/>
              <a:gd name="connsiteY59" fmla="*/ 1757147 h 2344739"/>
              <a:gd name="connsiteX60" fmla="*/ 9848940 w 12193149"/>
              <a:gd name="connsiteY60" fmla="*/ 1763915 h 2344739"/>
              <a:gd name="connsiteX61" fmla="*/ 9729457 w 12193149"/>
              <a:gd name="connsiteY61" fmla="*/ 1784122 h 2344739"/>
              <a:gd name="connsiteX62" fmla="*/ 9613704 w 12193149"/>
              <a:gd name="connsiteY62" fmla="*/ 1812371 h 2344739"/>
              <a:gd name="connsiteX63" fmla="*/ 9338590 w 12193149"/>
              <a:gd name="connsiteY63" fmla="*/ 1869293 h 2344739"/>
              <a:gd name="connsiteX64" fmla="*/ 9232518 w 12193149"/>
              <a:gd name="connsiteY64" fmla="*/ 1893149 h 2344739"/>
              <a:gd name="connsiteX65" fmla="*/ 9156690 w 12193149"/>
              <a:gd name="connsiteY65" fmla="*/ 1903228 h 2344739"/>
              <a:gd name="connsiteX66" fmla="*/ 9054601 w 12193149"/>
              <a:gd name="connsiteY66" fmla="*/ 1910755 h 2344739"/>
              <a:gd name="connsiteX67" fmla="*/ 9006634 w 12193149"/>
              <a:gd name="connsiteY67" fmla="*/ 1914040 h 2344739"/>
              <a:gd name="connsiteX68" fmla="*/ 9006349 w 12193149"/>
              <a:gd name="connsiteY68" fmla="*/ 1913800 h 2344739"/>
              <a:gd name="connsiteX69" fmla="*/ 8997380 w 12193149"/>
              <a:gd name="connsiteY69" fmla="*/ 1915011 h 2344739"/>
              <a:gd name="connsiteX70" fmla="*/ 8991542 w 12193149"/>
              <a:gd name="connsiteY70" fmla="*/ 1917072 h 2344739"/>
              <a:gd name="connsiteX71" fmla="*/ 8975485 w 12193149"/>
              <a:gd name="connsiteY71" fmla="*/ 1920298 h 2344739"/>
              <a:gd name="connsiteX72" fmla="*/ 8969159 w 12193149"/>
              <a:gd name="connsiteY72" fmla="*/ 1919598 h 2344739"/>
              <a:gd name="connsiteX73" fmla="*/ 8964196 w 12193149"/>
              <a:gd name="connsiteY73" fmla="*/ 1917373 h 2344739"/>
              <a:gd name="connsiteX74" fmla="*/ 8930136 w 12193149"/>
              <a:gd name="connsiteY74" fmla="*/ 1914185 h 2344739"/>
              <a:gd name="connsiteX75" fmla="*/ 8753592 w 12193149"/>
              <a:gd name="connsiteY75" fmla="*/ 1933417 h 2344739"/>
              <a:gd name="connsiteX76" fmla="*/ 8708995 w 12193149"/>
              <a:gd name="connsiteY76" fmla="*/ 1935518 h 2344739"/>
              <a:gd name="connsiteX77" fmla="*/ 8597219 w 12193149"/>
              <a:gd name="connsiteY77" fmla="*/ 1944090 h 2344739"/>
              <a:gd name="connsiteX78" fmla="*/ 8526378 w 12193149"/>
              <a:gd name="connsiteY78" fmla="*/ 1929248 h 2344739"/>
              <a:gd name="connsiteX79" fmla="*/ 8512131 w 12193149"/>
              <a:gd name="connsiteY79" fmla="*/ 1935163 h 2344739"/>
              <a:gd name="connsiteX80" fmla="*/ 8507315 w 12193149"/>
              <a:gd name="connsiteY80" fmla="*/ 1938164 h 2344739"/>
              <a:gd name="connsiteX81" fmla="*/ 8499116 w 12193149"/>
              <a:gd name="connsiteY81" fmla="*/ 1940902 h 2344739"/>
              <a:gd name="connsiteX82" fmla="*/ 8498742 w 12193149"/>
              <a:gd name="connsiteY82" fmla="*/ 1940723 h 2344739"/>
              <a:gd name="connsiteX83" fmla="*/ 8491397 w 12193149"/>
              <a:gd name="connsiteY83" fmla="*/ 1943773 h 2344739"/>
              <a:gd name="connsiteX84" fmla="*/ 8368330 w 12193149"/>
              <a:gd name="connsiteY84" fmla="*/ 1957815 h 2344739"/>
              <a:gd name="connsiteX85" fmla="*/ 8354947 w 12193149"/>
              <a:gd name="connsiteY85" fmla="*/ 1958009 h 2344739"/>
              <a:gd name="connsiteX86" fmla="*/ 8321252 w 12193149"/>
              <a:gd name="connsiteY86" fmla="*/ 1974587 h 2344739"/>
              <a:gd name="connsiteX87" fmla="*/ 8315581 w 12193149"/>
              <a:gd name="connsiteY87" fmla="*/ 1974913 h 2344739"/>
              <a:gd name="connsiteX88" fmla="*/ 8296322 w 12193149"/>
              <a:gd name="connsiteY88" fmla="*/ 1988808 h 2344739"/>
              <a:gd name="connsiteX89" fmla="*/ 8285424 w 12193149"/>
              <a:gd name="connsiteY89" fmla="*/ 1994631 h 2344739"/>
              <a:gd name="connsiteX90" fmla="*/ 8284298 w 12193149"/>
              <a:gd name="connsiteY90" fmla="*/ 1999074 h 2344739"/>
              <a:gd name="connsiteX91" fmla="*/ 8267224 w 12193149"/>
              <a:gd name="connsiteY91" fmla="*/ 2006249 h 2344739"/>
              <a:gd name="connsiteX92" fmla="*/ 8264525 w 12193149"/>
              <a:gd name="connsiteY92" fmla="*/ 2006019 h 2344739"/>
              <a:gd name="connsiteX93" fmla="*/ 8253181 w 12193149"/>
              <a:gd name="connsiteY93" fmla="*/ 2015862 h 2344739"/>
              <a:gd name="connsiteX94" fmla="*/ 8246982 w 12193149"/>
              <a:gd name="connsiteY94" fmla="*/ 2028854 h 2344739"/>
              <a:gd name="connsiteX95" fmla="*/ 8091420 w 12193149"/>
              <a:gd name="connsiteY95" fmla="*/ 2075015 h 2344739"/>
              <a:gd name="connsiteX96" fmla="*/ 7906555 w 12193149"/>
              <a:gd name="connsiteY96" fmla="*/ 2116988 h 2344739"/>
              <a:gd name="connsiteX97" fmla="*/ 7719893 w 12193149"/>
              <a:gd name="connsiteY97" fmla="*/ 2142703 h 2344739"/>
              <a:gd name="connsiteX98" fmla="*/ 7615495 w 12193149"/>
              <a:gd name="connsiteY98" fmla="*/ 2139232 h 2344739"/>
              <a:gd name="connsiteX99" fmla="*/ 7528691 w 12193149"/>
              <a:gd name="connsiteY99" fmla="*/ 2145060 h 2344739"/>
              <a:gd name="connsiteX100" fmla="*/ 7520719 w 12193149"/>
              <a:gd name="connsiteY100" fmla="*/ 2147613 h 2344739"/>
              <a:gd name="connsiteX101" fmla="*/ 7508559 w 12193149"/>
              <a:gd name="connsiteY101" fmla="*/ 2148948 h 2344739"/>
              <a:gd name="connsiteX102" fmla="*/ 7508188 w 12193149"/>
              <a:gd name="connsiteY102" fmla="*/ 2148621 h 2344739"/>
              <a:gd name="connsiteX103" fmla="*/ 7496943 w 12193149"/>
              <a:gd name="connsiteY103" fmla="*/ 2150573 h 2344739"/>
              <a:gd name="connsiteX104" fmla="*/ 7219707 w 12193149"/>
              <a:gd name="connsiteY104" fmla="*/ 2156680 h 2344739"/>
              <a:gd name="connsiteX105" fmla="*/ 7202249 w 12193149"/>
              <a:gd name="connsiteY105" fmla="*/ 2161230 h 2344739"/>
              <a:gd name="connsiteX106" fmla="*/ 7198152 w 12193149"/>
              <a:gd name="connsiteY106" fmla="*/ 2166588 h 2344739"/>
              <a:gd name="connsiteX107" fmla="*/ 7171956 w 12193149"/>
              <a:gd name="connsiteY107" fmla="*/ 2171236 h 2344739"/>
              <a:gd name="connsiteX108" fmla="*/ 7098136 w 12193149"/>
              <a:gd name="connsiteY108" fmla="*/ 2183464 h 2344739"/>
              <a:gd name="connsiteX109" fmla="*/ 7019644 w 12193149"/>
              <a:gd name="connsiteY109" fmla="*/ 2183090 h 2344739"/>
              <a:gd name="connsiteX110" fmla="*/ 6905294 w 12193149"/>
              <a:gd name="connsiteY110" fmla="*/ 2212596 h 2344739"/>
              <a:gd name="connsiteX111" fmla="*/ 6709370 w 12193149"/>
              <a:gd name="connsiteY111" fmla="*/ 2240551 h 2344739"/>
              <a:gd name="connsiteX112" fmla="*/ 6550602 w 12193149"/>
              <a:gd name="connsiteY112" fmla="*/ 2269327 h 2344739"/>
              <a:gd name="connsiteX113" fmla="*/ 6318708 w 12193149"/>
              <a:gd name="connsiteY113" fmla="*/ 2316127 h 2344739"/>
              <a:gd name="connsiteX114" fmla="*/ 6169822 w 12193149"/>
              <a:gd name="connsiteY114" fmla="*/ 2318214 h 2344739"/>
              <a:gd name="connsiteX115" fmla="*/ 6074996 w 12193149"/>
              <a:gd name="connsiteY115" fmla="*/ 2338676 h 2344739"/>
              <a:gd name="connsiteX116" fmla="*/ 6069677 w 12193149"/>
              <a:gd name="connsiteY116" fmla="*/ 2337139 h 2344739"/>
              <a:gd name="connsiteX117" fmla="*/ 6049786 w 12193149"/>
              <a:gd name="connsiteY117" fmla="*/ 2337822 h 2344739"/>
              <a:gd name="connsiteX118" fmla="*/ 6042433 w 12193149"/>
              <a:gd name="connsiteY118" fmla="*/ 2329473 h 2344739"/>
              <a:gd name="connsiteX119" fmla="*/ 6011238 w 12193149"/>
              <a:gd name="connsiteY119" fmla="*/ 2324380 h 2344739"/>
              <a:gd name="connsiteX120" fmla="*/ 5958523 w 12193149"/>
              <a:gd name="connsiteY120" fmla="*/ 2328024 h 2344739"/>
              <a:gd name="connsiteX121" fmla="*/ 5760067 w 12193149"/>
              <a:gd name="connsiteY121" fmla="*/ 2343716 h 2344739"/>
              <a:gd name="connsiteX122" fmla="*/ 5628108 w 12193149"/>
              <a:gd name="connsiteY122" fmla="*/ 2344739 h 2344739"/>
              <a:gd name="connsiteX123" fmla="*/ 5472054 w 12193149"/>
              <a:gd name="connsiteY123" fmla="*/ 2330719 h 2344739"/>
              <a:gd name="connsiteX124" fmla="*/ 5433909 w 12193149"/>
              <a:gd name="connsiteY124" fmla="*/ 2319466 h 2344739"/>
              <a:gd name="connsiteX125" fmla="*/ 5382817 w 12193149"/>
              <a:gd name="connsiteY125" fmla="*/ 2301764 h 2344739"/>
              <a:gd name="connsiteX126" fmla="*/ 5262912 w 12193149"/>
              <a:gd name="connsiteY126" fmla="*/ 2281347 h 2344739"/>
              <a:gd name="connsiteX127" fmla="*/ 5224109 w 12193149"/>
              <a:gd name="connsiteY127" fmla="*/ 2270223 h 2344739"/>
              <a:gd name="connsiteX128" fmla="*/ 5175808 w 12193149"/>
              <a:gd name="connsiteY128" fmla="*/ 2267233 h 2344739"/>
              <a:gd name="connsiteX129" fmla="*/ 5157702 w 12193149"/>
              <a:gd name="connsiteY129" fmla="*/ 2260010 h 2344739"/>
              <a:gd name="connsiteX130" fmla="*/ 5143747 w 12193149"/>
              <a:gd name="connsiteY130" fmla="*/ 2256610 h 2344739"/>
              <a:gd name="connsiteX131" fmla="*/ 5140744 w 12193149"/>
              <a:gd name="connsiteY131" fmla="*/ 2254509 h 2344739"/>
              <a:gd name="connsiteX132" fmla="*/ 5122807 w 12193149"/>
              <a:gd name="connsiteY132" fmla="*/ 2243656 h 2344739"/>
              <a:gd name="connsiteX133" fmla="*/ 5066938 w 12193149"/>
              <a:gd name="connsiteY133" fmla="*/ 2250227 h 2344739"/>
              <a:gd name="connsiteX134" fmla="*/ 5012662 w 12193149"/>
              <a:gd name="connsiteY134" fmla="*/ 2233846 h 2344739"/>
              <a:gd name="connsiteX135" fmla="*/ 4841589 w 12193149"/>
              <a:gd name="connsiteY135" fmla="*/ 2209829 h 2344739"/>
              <a:gd name="connsiteX136" fmla="*/ 4763595 w 12193149"/>
              <a:gd name="connsiteY136" fmla="*/ 2182061 h 2344739"/>
              <a:gd name="connsiteX137" fmla="*/ 4724334 w 12193149"/>
              <a:gd name="connsiteY137" fmla="*/ 2173047 h 2344739"/>
              <a:gd name="connsiteX138" fmla="*/ 4722324 w 12193149"/>
              <a:gd name="connsiteY138" fmla="*/ 2172298 h 2344739"/>
              <a:gd name="connsiteX139" fmla="*/ 4723259 w 12193149"/>
              <a:gd name="connsiteY139" fmla="*/ 2172087 h 2344739"/>
              <a:gd name="connsiteX140" fmla="*/ 4718350 w 12193149"/>
              <a:gd name="connsiteY140" fmla="*/ 2170817 h 2344739"/>
              <a:gd name="connsiteX141" fmla="*/ 4722324 w 12193149"/>
              <a:gd name="connsiteY141" fmla="*/ 2172298 h 2344739"/>
              <a:gd name="connsiteX142" fmla="*/ 4716674 w 12193149"/>
              <a:gd name="connsiteY142" fmla="*/ 2173573 h 2344739"/>
              <a:gd name="connsiteX143" fmla="*/ 4516962 w 12193149"/>
              <a:gd name="connsiteY143" fmla="*/ 2163671 h 2344739"/>
              <a:gd name="connsiteX144" fmla="*/ 4429691 w 12193149"/>
              <a:gd name="connsiteY144" fmla="*/ 2153020 h 2344739"/>
              <a:gd name="connsiteX145" fmla="*/ 4364023 w 12193149"/>
              <a:gd name="connsiteY145" fmla="*/ 2151674 h 2344739"/>
              <a:gd name="connsiteX146" fmla="*/ 4318114 w 12193149"/>
              <a:gd name="connsiteY146" fmla="*/ 2158289 h 2344739"/>
              <a:gd name="connsiteX147" fmla="*/ 4316258 w 12193149"/>
              <a:gd name="connsiteY147" fmla="*/ 2156948 h 2344739"/>
              <a:gd name="connsiteX148" fmla="*/ 4296292 w 12193149"/>
              <a:gd name="connsiteY148" fmla="*/ 2155069 h 2344739"/>
              <a:gd name="connsiteX149" fmla="*/ 4291212 w 12193149"/>
              <a:gd name="connsiteY149" fmla="*/ 2157986 h 2344739"/>
              <a:gd name="connsiteX150" fmla="*/ 4277290 w 12193149"/>
              <a:gd name="connsiteY150" fmla="*/ 2157740 h 2344739"/>
              <a:gd name="connsiteX151" fmla="*/ 4249265 w 12193149"/>
              <a:gd name="connsiteY151" fmla="*/ 2160064 h 2344739"/>
              <a:gd name="connsiteX152" fmla="*/ 4203199 w 12193149"/>
              <a:gd name="connsiteY152" fmla="*/ 2157269 h 2344739"/>
              <a:gd name="connsiteX153" fmla="*/ 4202893 w 12193149"/>
              <a:gd name="connsiteY153" fmla="*/ 2156010 h 2344739"/>
              <a:gd name="connsiteX154" fmla="*/ 4192396 w 12193149"/>
              <a:gd name="connsiteY154" fmla="*/ 2150376 h 2344739"/>
              <a:gd name="connsiteX155" fmla="*/ 4143893 w 12193149"/>
              <a:gd name="connsiteY155" fmla="*/ 2134511 h 2344739"/>
              <a:gd name="connsiteX156" fmla="*/ 4084245 w 12193149"/>
              <a:gd name="connsiteY156" fmla="*/ 2107978 h 2344739"/>
              <a:gd name="connsiteX157" fmla="*/ 4075694 w 12193149"/>
              <a:gd name="connsiteY157" fmla="*/ 2107143 h 2344739"/>
              <a:gd name="connsiteX158" fmla="*/ 4075575 w 12193149"/>
              <a:gd name="connsiteY158" fmla="*/ 2106844 h 2344739"/>
              <a:gd name="connsiteX159" fmla="*/ 4066658 w 12193149"/>
              <a:gd name="connsiteY159" fmla="*/ 2105400 h 2344739"/>
              <a:gd name="connsiteX160" fmla="*/ 4060102 w 12193149"/>
              <a:gd name="connsiteY160" fmla="*/ 2105618 h 2344739"/>
              <a:gd name="connsiteX161" fmla="*/ 4043512 w 12193149"/>
              <a:gd name="connsiteY161" fmla="*/ 2103997 h 2344739"/>
              <a:gd name="connsiteX162" fmla="*/ 4038145 w 12193149"/>
              <a:gd name="connsiteY162" fmla="*/ 2101563 h 2344739"/>
              <a:gd name="connsiteX163" fmla="*/ 4036511 w 12193149"/>
              <a:gd name="connsiteY163" fmla="*/ 2097896 h 2344739"/>
              <a:gd name="connsiteX164" fmla="*/ 4034926 w 12193149"/>
              <a:gd name="connsiteY164" fmla="*/ 2098131 h 2344739"/>
              <a:gd name="connsiteX165" fmla="*/ 4005686 w 12193149"/>
              <a:gd name="connsiteY165" fmla="*/ 2085563 h 2344739"/>
              <a:gd name="connsiteX166" fmla="*/ 3937994 w 12193149"/>
              <a:gd name="connsiteY166" fmla="*/ 2068106 h 2344739"/>
              <a:gd name="connsiteX167" fmla="*/ 3898423 w 12193149"/>
              <a:gd name="connsiteY167" fmla="*/ 2062451 h 2344739"/>
              <a:gd name="connsiteX168" fmla="*/ 3790908 w 12193149"/>
              <a:gd name="connsiteY168" fmla="*/ 2042213 h 2344739"/>
              <a:gd name="connsiteX169" fmla="*/ 3683661 w 12193149"/>
              <a:gd name="connsiteY169" fmla="*/ 2018290 h 2344739"/>
              <a:gd name="connsiteX170" fmla="*/ 3611183 w 12193149"/>
              <a:gd name="connsiteY170" fmla="*/ 1986019 h 2344739"/>
              <a:gd name="connsiteX171" fmla="*/ 3605003 w 12193149"/>
              <a:gd name="connsiteY171" fmla="*/ 1987381 h 2344739"/>
              <a:gd name="connsiteX172" fmla="*/ 3595884 w 12193149"/>
              <a:gd name="connsiteY172" fmla="*/ 1987545 h 2344739"/>
              <a:gd name="connsiteX173" fmla="*/ 3595649 w 12193149"/>
              <a:gd name="connsiteY173" fmla="*/ 1987276 h 2344739"/>
              <a:gd name="connsiteX174" fmla="*/ 3587126 w 12193149"/>
              <a:gd name="connsiteY174" fmla="*/ 1987966 h 2344739"/>
              <a:gd name="connsiteX175" fmla="*/ 3537283 w 12193149"/>
              <a:gd name="connsiteY175" fmla="*/ 1978267 h 2344739"/>
              <a:gd name="connsiteX176" fmla="*/ 3474371 w 12193149"/>
              <a:gd name="connsiteY176" fmla="*/ 1974606 h 2344739"/>
              <a:gd name="connsiteX177" fmla="*/ 3401876 w 12193149"/>
              <a:gd name="connsiteY177" fmla="*/ 1962558 h 2344739"/>
              <a:gd name="connsiteX178" fmla="*/ 3365036 w 12193149"/>
              <a:gd name="connsiteY178" fmla="*/ 1979510 h 2344739"/>
              <a:gd name="connsiteX179" fmla="*/ 3345174 w 12193149"/>
              <a:gd name="connsiteY179" fmla="*/ 1981192 h 2344739"/>
              <a:gd name="connsiteX180" fmla="*/ 3342846 w 12193149"/>
              <a:gd name="connsiteY180" fmla="*/ 1980217 h 2344739"/>
              <a:gd name="connsiteX181" fmla="*/ 3263504 w 12193149"/>
              <a:gd name="connsiteY181" fmla="*/ 1986094 h 2344739"/>
              <a:gd name="connsiteX182" fmla="*/ 3143704 w 12193149"/>
              <a:gd name="connsiteY182" fmla="*/ 1993869 h 2344739"/>
              <a:gd name="connsiteX183" fmla="*/ 3031439 w 12193149"/>
              <a:gd name="connsiteY183" fmla="*/ 1996512 h 2344739"/>
              <a:gd name="connsiteX184" fmla="*/ 2782717 w 12193149"/>
              <a:gd name="connsiteY184" fmla="*/ 2018333 h 2344739"/>
              <a:gd name="connsiteX185" fmla="*/ 2647675 w 12193149"/>
              <a:gd name="connsiteY185" fmla="*/ 2028869 h 2344739"/>
              <a:gd name="connsiteX186" fmla="*/ 2569176 w 12193149"/>
              <a:gd name="connsiteY186" fmla="*/ 2002628 h 2344739"/>
              <a:gd name="connsiteX187" fmla="*/ 2444403 w 12193149"/>
              <a:gd name="connsiteY187" fmla="*/ 2016529 h 2344739"/>
              <a:gd name="connsiteX188" fmla="*/ 2316260 w 12193149"/>
              <a:gd name="connsiteY188" fmla="*/ 2024996 h 2344739"/>
              <a:gd name="connsiteX189" fmla="*/ 2209726 w 12193149"/>
              <a:gd name="connsiteY189" fmla="*/ 2019763 h 2344739"/>
              <a:gd name="connsiteX190" fmla="*/ 2095813 w 12193149"/>
              <a:gd name="connsiteY190" fmla="*/ 2003052 h 2344739"/>
              <a:gd name="connsiteX191" fmla="*/ 1998504 w 12193149"/>
              <a:gd name="connsiteY191" fmla="*/ 1995032 h 2344739"/>
              <a:gd name="connsiteX192" fmla="*/ 1929320 w 12193149"/>
              <a:gd name="connsiteY192" fmla="*/ 2016977 h 2344739"/>
              <a:gd name="connsiteX193" fmla="*/ 1922798 w 12193149"/>
              <a:gd name="connsiteY193" fmla="*/ 2012146 h 2344739"/>
              <a:gd name="connsiteX194" fmla="*/ 1874228 w 12193149"/>
              <a:gd name="connsiteY194" fmla="*/ 2013741 h 2344739"/>
              <a:gd name="connsiteX195" fmla="*/ 1787803 w 12193149"/>
              <a:gd name="connsiteY195" fmla="*/ 2041363 h 2344739"/>
              <a:gd name="connsiteX196" fmla="*/ 1739352 w 12193149"/>
              <a:gd name="connsiteY196" fmla="*/ 2036312 h 2344739"/>
              <a:gd name="connsiteX197" fmla="*/ 1676219 w 12193149"/>
              <a:gd name="connsiteY197" fmla="*/ 2019963 h 2344739"/>
              <a:gd name="connsiteX198" fmla="*/ 1609817 w 12193149"/>
              <a:gd name="connsiteY198" fmla="*/ 2013066 h 2344739"/>
              <a:gd name="connsiteX199" fmla="*/ 1497258 w 12193149"/>
              <a:gd name="connsiteY199" fmla="*/ 1987476 h 2344739"/>
              <a:gd name="connsiteX200" fmla="*/ 1151127 w 12193149"/>
              <a:gd name="connsiteY200" fmla="*/ 1938041 h 2344739"/>
              <a:gd name="connsiteX201" fmla="*/ 859417 w 12193149"/>
              <a:gd name="connsiteY201" fmla="*/ 1928608 h 2344739"/>
              <a:gd name="connsiteX202" fmla="*/ 838688 w 12193149"/>
              <a:gd name="connsiteY202" fmla="*/ 1929821 h 2344739"/>
              <a:gd name="connsiteX203" fmla="*/ 817957 w 12193149"/>
              <a:gd name="connsiteY203" fmla="*/ 1927857 h 2344739"/>
              <a:gd name="connsiteX204" fmla="*/ 812654 w 12193149"/>
              <a:gd name="connsiteY204" fmla="*/ 1930751 h 2344739"/>
              <a:gd name="connsiteX205" fmla="*/ 721195 w 12193149"/>
              <a:gd name="connsiteY205" fmla="*/ 1929661 h 2344739"/>
              <a:gd name="connsiteX206" fmla="*/ 720890 w 12193149"/>
              <a:gd name="connsiteY206" fmla="*/ 1928399 h 2344739"/>
              <a:gd name="connsiteX207" fmla="*/ 710023 w 12193149"/>
              <a:gd name="connsiteY207" fmla="*/ 1922722 h 2344739"/>
              <a:gd name="connsiteX208" fmla="*/ 597940 w 12193149"/>
              <a:gd name="connsiteY208" fmla="*/ 1879864 h 2344739"/>
              <a:gd name="connsiteX209" fmla="*/ 579683 w 12193149"/>
              <a:gd name="connsiteY209" fmla="*/ 1877212 h 2344739"/>
              <a:gd name="connsiteX210" fmla="*/ 572865 w 12193149"/>
              <a:gd name="connsiteY210" fmla="*/ 1877401 h 2344739"/>
              <a:gd name="connsiteX211" fmla="*/ 446247 w 12193149"/>
              <a:gd name="connsiteY211" fmla="*/ 1839371 h 2344739"/>
              <a:gd name="connsiteX212" fmla="*/ 405163 w 12193149"/>
              <a:gd name="connsiteY212" fmla="*/ 1833548 h 2344739"/>
              <a:gd name="connsiteX213" fmla="*/ 293583 w 12193149"/>
              <a:gd name="connsiteY213" fmla="*/ 1812852 h 2344739"/>
              <a:gd name="connsiteX214" fmla="*/ 119529 w 12193149"/>
              <a:gd name="connsiteY214" fmla="*/ 1761047 h 2344739"/>
              <a:gd name="connsiteX215" fmla="*/ 16674 w 12193149"/>
              <a:gd name="connsiteY215" fmla="*/ 1758191 h 2344739"/>
              <a:gd name="connsiteX216" fmla="*/ 1150 w 12193149"/>
              <a:gd name="connsiteY216" fmla="*/ 1752722 h 2344739"/>
              <a:gd name="connsiteX217" fmla="*/ 1148 w 12193149"/>
              <a:gd name="connsiteY217" fmla="*/ 222213 h 2344739"/>
              <a:gd name="connsiteX218" fmla="*/ 1148 w 12193149"/>
              <a:gd name="connsiteY218" fmla="*/ 0 h 2344739"/>
              <a:gd name="connsiteX0" fmla="*/ 1148 w 12193149"/>
              <a:gd name="connsiteY0" fmla="*/ 0 h 2344739"/>
              <a:gd name="connsiteX1" fmla="*/ 12193148 w 12193149"/>
              <a:gd name="connsiteY1" fmla="*/ 0 h 2344739"/>
              <a:gd name="connsiteX2" fmla="*/ 12193148 w 12193149"/>
              <a:gd name="connsiteY2" fmla="*/ 222213 h 2344739"/>
              <a:gd name="connsiteX3" fmla="*/ 12193149 w 12193149"/>
              <a:gd name="connsiteY3" fmla="*/ 579739 h 2344739"/>
              <a:gd name="connsiteX4" fmla="*/ 12185986 w 12193149"/>
              <a:gd name="connsiteY4" fmla="*/ 584189 h 2344739"/>
              <a:gd name="connsiteX5" fmla="*/ 12156363 w 12193149"/>
              <a:gd name="connsiteY5" fmla="*/ 597366 h 2344739"/>
              <a:gd name="connsiteX6" fmla="*/ 12139215 w 12193149"/>
              <a:gd name="connsiteY6" fmla="*/ 623179 h 2344739"/>
              <a:gd name="connsiteX7" fmla="*/ 12126327 w 12193149"/>
              <a:gd name="connsiteY7" fmla="*/ 624690 h 2344739"/>
              <a:gd name="connsiteX8" fmla="*/ 12124007 w 12193149"/>
              <a:gd name="connsiteY8" fmla="*/ 624794 h 2344739"/>
              <a:gd name="connsiteX9" fmla="*/ 12116854 w 12193149"/>
              <a:gd name="connsiteY9" fmla="*/ 628608 h 2344739"/>
              <a:gd name="connsiteX10" fmla="*/ 12099497 w 12193149"/>
              <a:gd name="connsiteY10" fmla="*/ 628139 h 2344739"/>
              <a:gd name="connsiteX11" fmla="*/ 12087073 w 12193149"/>
              <a:gd name="connsiteY11" fmla="*/ 636341 h 2344739"/>
              <a:gd name="connsiteX12" fmla="*/ 12031073 w 12193149"/>
              <a:gd name="connsiteY12" fmla="*/ 680009 h 2344739"/>
              <a:gd name="connsiteX13" fmla="*/ 11995833 w 12193149"/>
              <a:gd name="connsiteY13" fmla="*/ 703458 h 2344739"/>
              <a:gd name="connsiteX14" fmla="*/ 11979717 w 12193149"/>
              <a:gd name="connsiteY14" fmla="*/ 708161 h 2344739"/>
              <a:gd name="connsiteX15" fmla="*/ 11959046 w 12193149"/>
              <a:gd name="connsiteY15" fmla="*/ 717558 h 2344739"/>
              <a:gd name="connsiteX16" fmla="*/ 11920454 w 12193149"/>
              <a:gd name="connsiteY16" fmla="*/ 730883 h 2344739"/>
              <a:gd name="connsiteX17" fmla="*/ 11903656 w 12193149"/>
              <a:gd name="connsiteY17" fmla="*/ 742426 h 2344739"/>
              <a:gd name="connsiteX18" fmla="*/ 11895048 w 12193149"/>
              <a:gd name="connsiteY18" fmla="*/ 744791 h 2344739"/>
              <a:gd name="connsiteX19" fmla="*/ 11891968 w 12193149"/>
              <a:gd name="connsiteY19" fmla="*/ 755729 h 2344739"/>
              <a:gd name="connsiteX20" fmla="*/ 11870776 w 12193149"/>
              <a:gd name="connsiteY20" fmla="*/ 777816 h 2344739"/>
              <a:gd name="connsiteX21" fmla="*/ 11813376 w 12193149"/>
              <a:gd name="connsiteY21" fmla="*/ 797659 h 2344739"/>
              <a:gd name="connsiteX22" fmla="*/ 11590693 w 12193149"/>
              <a:gd name="connsiteY22" fmla="*/ 963777 h 2344739"/>
              <a:gd name="connsiteX23" fmla="*/ 11506817 w 12193149"/>
              <a:gd name="connsiteY23" fmla="*/ 1033623 h 2344739"/>
              <a:gd name="connsiteX24" fmla="*/ 11280332 w 12193149"/>
              <a:gd name="connsiteY24" fmla="*/ 1223571 h 2344739"/>
              <a:gd name="connsiteX25" fmla="*/ 11228309 w 12193149"/>
              <a:gd name="connsiteY25" fmla="*/ 1276236 h 2344739"/>
              <a:gd name="connsiteX26" fmla="*/ 11218087 w 12193149"/>
              <a:gd name="connsiteY26" fmla="*/ 1275961 h 2344739"/>
              <a:gd name="connsiteX27" fmla="*/ 11217184 w 12193149"/>
              <a:gd name="connsiteY27" fmla="*/ 1275018 h 2344739"/>
              <a:gd name="connsiteX28" fmla="*/ 11188885 w 12193149"/>
              <a:gd name="connsiteY28" fmla="*/ 1292383 h 2344739"/>
              <a:gd name="connsiteX29" fmla="*/ 11184501 w 12193149"/>
              <a:gd name="connsiteY29" fmla="*/ 1292525 h 2344739"/>
              <a:gd name="connsiteX30" fmla="*/ 11166854 w 12193149"/>
              <a:gd name="connsiteY30" fmla="*/ 1306612 h 2344739"/>
              <a:gd name="connsiteX31" fmla="*/ 11157311 w 12193149"/>
              <a:gd name="connsiteY31" fmla="*/ 1312414 h 2344739"/>
              <a:gd name="connsiteX32" fmla="*/ 11155496 w 12193149"/>
              <a:gd name="connsiteY32" fmla="*/ 1317097 h 2344739"/>
              <a:gd name="connsiteX33" fmla="*/ 11140961 w 12193149"/>
              <a:gd name="connsiteY33" fmla="*/ 1324115 h 2344739"/>
              <a:gd name="connsiteX34" fmla="*/ 11138961 w 12193149"/>
              <a:gd name="connsiteY34" fmla="*/ 1323772 h 2344739"/>
              <a:gd name="connsiteX35" fmla="*/ 11128208 w 12193149"/>
              <a:gd name="connsiteY35" fmla="*/ 1333832 h 2344739"/>
              <a:gd name="connsiteX36" fmla="*/ 11120691 w 12193149"/>
              <a:gd name="connsiteY36" fmla="*/ 1347424 h 2344739"/>
              <a:gd name="connsiteX37" fmla="*/ 10894683 w 12193149"/>
              <a:gd name="connsiteY37" fmla="*/ 1473399 h 2344739"/>
              <a:gd name="connsiteX38" fmla="*/ 10773300 w 12193149"/>
              <a:gd name="connsiteY38" fmla="*/ 1523191 h 2344739"/>
              <a:gd name="connsiteX39" fmla="*/ 10627668 w 12193149"/>
              <a:gd name="connsiteY39" fmla="*/ 1559229 h 2344739"/>
              <a:gd name="connsiteX40" fmla="*/ 10581895 w 12193149"/>
              <a:gd name="connsiteY40" fmla="*/ 1568689 h 2344739"/>
              <a:gd name="connsiteX41" fmla="*/ 10547790 w 12193149"/>
              <a:gd name="connsiteY41" fmla="*/ 1598423 h 2344739"/>
              <a:gd name="connsiteX42" fmla="*/ 10529643 w 12193149"/>
              <a:gd name="connsiteY42" fmla="*/ 1596907 h 2344739"/>
              <a:gd name="connsiteX43" fmla="*/ 10526446 w 12193149"/>
              <a:gd name="connsiteY43" fmla="*/ 1596411 h 2344739"/>
              <a:gd name="connsiteX44" fmla="*/ 10515129 w 12193149"/>
              <a:gd name="connsiteY44" fmla="*/ 1599537 h 2344739"/>
              <a:gd name="connsiteX45" fmla="*/ 10491735 w 12193149"/>
              <a:gd name="connsiteY45" fmla="*/ 1594156 h 2344739"/>
              <a:gd name="connsiteX46" fmla="*/ 10471418 w 12193149"/>
              <a:gd name="connsiteY46" fmla="*/ 1601693 h 2344739"/>
              <a:gd name="connsiteX47" fmla="*/ 10377042 w 12193149"/>
              <a:gd name="connsiteY47" fmla="*/ 1644598 h 2344739"/>
              <a:gd name="connsiteX48" fmla="*/ 10319338 w 12193149"/>
              <a:gd name="connsiteY48" fmla="*/ 1666221 h 2344739"/>
              <a:gd name="connsiteX49" fmla="*/ 10295467 w 12193149"/>
              <a:gd name="connsiteY49" fmla="*/ 1668079 h 2344739"/>
              <a:gd name="connsiteX50" fmla="*/ 10263443 w 12193149"/>
              <a:gd name="connsiteY50" fmla="*/ 1674948 h 2344739"/>
              <a:gd name="connsiteX51" fmla="*/ 10205418 w 12193149"/>
              <a:gd name="connsiteY51" fmla="*/ 1682149 h 2344739"/>
              <a:gd name="connsiteX52" fmla="*/ 10177759 w 12193149"/>
              <a:gd name="connsiteY52" fmla="*/ 1692943 h 2344739"/>
              <a:gd name="connsiteX53" fmla="*/ 10165070 w 12193149"/>
              <a:gd name="connsiteY53" fmla="*/ 1693739 h 2344739"/>
              <a:gd name="connsiteX54" fmla="*/ 10156308 w 12193149"/>
              <a:gd name="connsiteY54" fmla="*/ 1707487 h 2344739"/>
              <a:gd name="connsiteX55" fmla="*/ 10118267 w 12193149"/>
              <a:gd name="connsiteY55" fmla="*/ 1731142 h 2344739"/>
              <a:gd name="connsiteX56" fmla="*/ 10083317 w 12193149"/>
              <a:gd name="connsiteY56" fmla="*/ 1743296 h 2344739"/>
              <a:gd name="connsiteX57" fmla="*/ 10040388 w 12193149"/>
              <a:gd name="connsiteY57" fmla="*/ 1741632 h 2344739"/>
              <a:gd name="connsiteX58" fmla="*/ 9961167 w 12193149"/>
              <a:gd name="connsiteY58" fmla="*/ 1757147 h 2344739"/>
              <a:gd name="connsiteX59" fmla="*/ 9848940 w 12193149"/>
              <a:gd name="connsiteY59" fmla="*/ 1763915 h 2344739"/>
              <a:gd name="connsiteX60" fmla="*/ 9729457 w 12193149"/>
              <a:gd name="connsiteY60" fmla="*/ 1784122 h 2344739"/>
              <a:gd name="connsiteX61" fmla="*/ 9613704 w 12193149"/>
              <a:gd name="connsiteY61" fmla="*/ 1812371 h 2344739"/>
              <a:gd name="connsiteX62" fmla="*/ 9338590 w 12193149"/>
              <a:gd name="connsiteY62" fmla="*/ 1869293 h 2344739"/>
              <a:gd name="connsiteX63" fmla="*/ 9232518 w 12193149"/>
              <a:gd name="connsiteY63" fmla="*/ 1893149 h 2344739"/>
              <a:gd name="connsiteX64" fmla="*/ 9156690 w 12193149"/>
              <a:gd name="connsiteY64" fmla="*/ 1903228 h 2344739"/>
              <a:gd name="connsiteX65" fmla="*/ 9054601 w 12193149"/>
              <a:gd name="connsiteY65" fmla="*/ 1910755 h 2344739"/>
              <a:gd name="connsiteX66" fmla="*/ 9006634 w 12193149"/>
              <a:gd name="connsiteY66" fmla="*/ 1914040 h 2344739"/>
              <a:gd name="connsiteX67" fmla="*/ 9006349 w 12193149"/>
              <a:gd name="connsiteY67" fmla="*/ 1913800 h 2344739"/>
              <a:gd name="connsiteX68" fmla="*/ 8997380 w 12193149"/>
              <a:gd name="connsiteY68" fmla="*/ 1915011 h 2344739"/>
              <a:gd name="connsiteX69" fmla="*/ 8991542 w 12193149"/>
              <a:gd name="connsiteY69" fmla="*/ 1917072 h 2344739"/>
              <a:gd name="connsiteX70" fmla="*/ 8975485 w 12193149"/>
              <a:gd name="connsiteY70" fmla="*/ 1920298 h 2344739"/>
              <a:gd name="connsiteX71" fmla="*/ 8969159 w 12193149"/>
              <a:gd name="connsiteY71" fmla="*/ 1919598 h 2344739"/>
              <a:gd name="connsiteX72" fmla="*/ 8964196 w 12193149"/>
              <a:gd name="connsiteY72" fmla="*/ 1917373 h 2344739"/>
              <a:gd name="connsiteX73" fmla="*/ 8930136 w 12193149"/>
              <a:gd name="connsiteY73" fmla="*/ 1914185 h 2344739"/>
              <a:gd name="connsiteX74" fmla="*/ 8753592 w 12193149"/>
              <a:gd name="connsiteY74" fmla="*/ 1933417 h 2344739"/>
              <a:gd name="connsiteX75" fmla="*/ 8708995 w 12193149"/>
              <a:gd name="connsiteY75" fmla="*/ 1935518 h 2344739"/>
              <a:gd name="connsiteX76" fmla="*/ 8597219 w 12193149"/>
              <a:gd name="connsiteY76" fmla="*/ 1944090 h 2344739"/>
              <a:gd name="connsiteX77" fmla="*/ 8526378 w 12193149"/>
              <a:gd name="connsiteY77" fmla="*/ 1929248 h 2344739"/>
              <a:gd name="connsiteX78" fmla="*/ 8512131 w 12193149"/>
              <a:gd name="connsiteY78" fmla="*/ 1935163 h 2344739"/>
              <a:gd name="connsiteX79" fmla="*/ 8507315 w 12193149"/>
              <a:gd name="connsiteY79" fmla="*/ 1938164 h 2344739"/>
              <a:gd name="connsiteX80" fmla="*/ 8499116 w 12193149"/>
              <a:gd name="connsiteY80" fmla="*/ 1940902 h 2344739"/>
              <a:gd name="connsiteX81" fmla="*/ 8498742 w 12193149"/>
              <a:gd name="connsiteY81" fmla="*/ 1940723 h 2344739"/>
              <a:gd name="connsiteX82" fmla="*/ 8491397 w 12193149"/>
              <a:gd name="connsiteY82" fmla="*/ 1943773 h 2344739"/>
              <a:gd name="connsiteX83" fmla="*/ 8368330 w 12193149"/>
              <a:gd name="connsiteY83" fmla="*/ 1957815 h 2344739"/>
              <a:gd name="connsiteX84" fmla="*/ 8354947 w 12193149"/>
              <a:gd name="connsiteY84" fmla="*/ 1958009 h 2344739"/>
              <a:gd name="connsiteX85" fmla="*/ 8321252 w 12193149"/>
              <a:gd name="connsiteY85" fmla="*/ 1974587 h 2344739"/>
              <a:gd name="connsiteX86" fmla="*/ 8315581 w 12193149"/>
              <a:gd name="connsiteY86" fmla="*/ 1974913 h 2344739"/>
              <a:gd name="connsiteX87" fmla="*/ 8296322 w 12193149"/>
              <a:gd name="connsiteY87" fmla="*/ 1988808 h 2344739"/>
              <a:gd name="connsiteX88" fmla="*/ 8285424 w 12193149"/>
              <a:gd name="connsiteY88" fmla="*/ 1994631 h 2344739"/>
              <a:gd name="connsiteX89" fmla="*/ 8284298 w 12193149"/>
              <a:gd name="connsiteY89" fmla="*/ 1999074 h 2344739"/>
              <a:gd name="connsiteX90" fmla="*/ 8267224 w 12193149"/>
              <a:gd name="connsiteY90" fmla="*/ 2006249 h 2344739"/>
              <a:gd name="connsiteX91" fmla="*/ 8264525 w 12193149"/>
              <a:gd name="connsiteY91" fmla="*/ 2006019 h 2344739"/>
              <a:gd name="connsiteX92" fmla="*/ 8253181 w 12193149"/>
              <a:gd name="connsiteY92" fmla="*/ 2015862 h 2344739"/>
              <a:gd name="connsiteX93" fmla="*/ 8246982 w 12193149"/>
              <a:gd name="connsiteY93" fmla="*/ 2028854 h 2344739"/>
              <a:gd name="connsiteX94" fmla="*/ 8091420 w 12193149"/>
              <a:gd name="connsiteY94" fmla="*/ 2075015 h 2344739"/>
              <a:gd name="connsiteX95" fmla="*/ 7906555 w 12193149"/>
              <a:gd name="connsiteY95" fmla="*/ 2116988 h 2344739"/>
              <a:gd name="connsiteX96" fmla="*/ 7719893 w 12193149"/>
              <a:gd name="connsiteY96" fmla="*/ 2142703 h 2344739"/>
              <a:gd name="connsiteX97" fmla="*/ 7615495 w 12193149"/>
              <a:gd name="connsiteY97" fmla="*/ 2139232 h 2344739"/>
              <a:gd name="connsiteX98" fmla="*/ 7528691 w 12193149"/>
              <a:gd name="connsiteY98" fmla="*/ 2145060 h 2344739"/>
              <a:gd name="connsiteX99" fmla="*/ 7520719 w 12193149"/>
              <a:gd name="connsiteY99" fmla="*/ 2147613 h 2344739"/>
              <a:gd name="connsiteX100" fmla="*/ 7508559 w 12193149"/>
              <a:gd name="connsiteY100" fmla="*/ 2148948 h 2344739"/>
              <a:gd name="connsiteX101" fmla="*/ 7508188 w 12193149"/>
              <a:gd name="connsiteY101" fmla="*/ 2148621 h 2344739"/>
              <a:gd name="connsiteX102" fmla="*/ 7496943 w 12193149"/>
              <a:gd name="connsiteY102" fmla="*/ 2150573 h 2344739"/>
              <a:gd name="connsiteX103" fmla="*/ 7219707 w 12193149"/>
              <a:gd name="connsiteY103" fmla="*/ 2156680 h 2344739"/>
              <a:gd name="connsiteX104" fmla="*/ 7202249 w 12193149"/>
              <a:gd name="connsiteY104" fmla="*/ 2161230 h 2344739"/>
              <a:gd name="connsiteX105" fmla="*/ 7198152 w 12193149"/>
              <a:gd name="connsiteY105" fmla="*/ 2166588 h 2344739"/>
              <a:gd name="connsiteX106" fmla="*/ 7171956 w 12193149"/>
              <a:gd name="connsiteY106" fmla="*/ 2171236 h 2344739"/>
              <a:gd name="connsiteX107" fmla="*/ 7098136 w 12193149"/>
              <a:gd name="connsiteY107" fmla="*/ 2183464 h 2344739"/>
              <a:gd name="connsiteX108" fmla="*/ 7019644 w 12193149"/>
              <a:gd name="connsiteY108" fmla="*/ 2183090 h 2344739"/>
              <a:gd name="connsiteX109" fmla="*/ 6905294 w 12193149"/>
              <a:gd name="connsiteY109" fmla="*/ 2212596 h 2344739"/>
              <a:gd name="connsiteX110" fmla="*/ 6709370 w 12193149"/>
              <a:gd name="connsiteY110" fmla="*/ 2240551 h 2344739"/>
              <a:gd name="connsiteX111" fmla="*/ 6550602 w 12193149"/>
              <a:gd name="connsiteY111" fmla="*/ 2269327 h 2344739"/>
              <a:gd name="connsiteX112" fmla="*/ 6318708 w 12193149"/>
              <a:gd name="connsiteY112" fmla="*/ 2316127 h 2344739"/>
              <a:gd name="connsiteX113" fmla="*/ 6169822 w 12193149"/>
              <a:gd name="connsiteY113" fmla="*/ 2318214 h 2344739"/>
              <a:gd name="connsiteX114" fmla="*/ 6074996 w 12193149"/>
              <a:gd name="connsiteY114" fmla="*/ 2338676 h 2344739"/>
              <a:gd name="connsiteX115" fmla="*/ 6069677 w 12193149"/>
              <a:gd name="connsiteY115" fmla="*/ 2337139 h 2344739"/>
              <a:gd name="connsiteX116" fmla="*/ 6049786 w 12193149"/>
              <a:gd name="connsiteY116" fmla="*/ 2337822 h 2344739"/>
              <a:gd name="connsiteX117" fmla="*/ 6042433 w 12193149"/>
              <a:gd name="connsiteY117" fmla="*/ 2329473 h 2344739"/>
              <a:gd name="connsiteX118" fmla="*/ 6011238 w 12193149"/>
              <a:gd name="connsiteY118" fmla="*/ 2324380 h 2344739"/>
              <a:gd name="connsiteX119" fmla="*/ 5958523 w 12193149"/>
              <a:gd name="connsiteY119" fmla="*/ 2328024 h 2344739"/>
              <a:gd name="connsiteX120" fmla="*/ 5760067 w 12193149"/>
              <a:gd name="connsiteY120" fmla="*/ 2343716 h 2344739"/>
              <a:gd name="connsiteX121" fmla="*/ 5628108 w 12193149"/>
              <a:gd name="connsiteY121" fmla="*/ 2344739 h 2344739"/>
              <a:gd name="connsiteX122" fmla="*/ 5472054 w 12193149"/>
              <a:gd name="connsiteY122" fmla="*/ 2330719 h 2344739"/>
              <a:gd name="connsiteX123" fmla="*/ 5433909 w 12193149"/>
              <a:gd name="connsiteY123" fmla="*/ 2319466 h 2344739"/>
              <a:gd name="connsiteX124" fmla="*/ 5382817 w 12193149"/>
              <a:gd name="connsiteY124" fmla="*/ 2301764 h 2344739"/>
              <a:gd name="connsiteX125" fmla="*/ 5262912 w 12193149"/>
              <a:gd name="connsiteY125" fmla="*/ 2281347 h 2344739"/>
              <a:gd name="connsiteX126" fmla="*/ 5224109 w 12193149"/>
              <a:gd name="connsiteY126" fmla="*/ 2270223 h 2344739"/>
              <a:gd name="connsiteX127" fmla="*/ 5175808 w 12193149"/>
              <a:gd name="connsiteY127" fmla="*/ 2267233 h 2344739"/>
              <a:gd name="connsiteX128" fmla="*/ 5157702 w 12193149"/>
              <a:gd name="connsiteY128" fmla="*/ 2260010 h 2344739"/>
              <a:gd name="connsiteX129" fmla="*/ 5143747 w 12193149"/>
              <a:gd name="connsiteY129" fmla="*/ 2256610 h 2344739"/>
              <a:gd name="connsiteX130" fmla="*/ 5140744 w 12193149"/>
              <a:gd name="connsiteY130" fmla="*/ 2254509 h 2344739"/>
              <a:gd name="connsiteX131" fmla="*/ 5122807 w 12193149"/>
              <a:gd name="connsiteY131" fmla="*/ 2243656 h 2344739"/>
              <a:gd name="connsiteX132" fmla="*/ 5066938 w 12193149"/>
              <a:gd name="connsiteY132" fmla="*/ 2250227 h 2344739"/>
              <a:gd name="connsiteX133" fmla="*/ 5012662 w 12193149"/>
              <a:gd name="connsiteY133" fmla="*/ 2233846 h 2344739"/>
              <a:gd name="connsiteX134" fmla="*/ 4841589 w 12193149"/>
              <a:gd name="connsiteY134" fmla="*/ 2209829 h 2344739"/>
              <a:gd name="connsiteX135" fmla="*/ 4763595 w 12193149"/>
              <a:gd name="connsiteY135" fmla="*/ 2182061 h 2344739"/>
              <a:gd name="connsiteX136" fmla="*/ 4724334 w 12193149"/>
              <a:gd name="connsiteY136" fmla="*/ 2173047 h 2344739"/>
              <a:gd name="connsiteX137" fmla="*/ 4722324 w 12193149"/>
              <a:gd name="connsiteY137" fmla="*/ 2172298 h 2344739"/>
              <a:gd name="connsiteX138" fmla="*/ 4723259 w 12193149"/>
              <a:gd name="connsiteY138" fmla="*/ 2172087 h 2344739"/>
              <a:gd name="connsiteX139" fmla="*/ 4718350 w 12193149"/>
              <a:gd name="connsiteY139" fmla="*/ 2170817 h 2344739"/>
              <a:gd name="connsiteX140" fmla="*/ 4722324 w 12193149"/>
              <a:gd name="connsiteY140" fmla="*/ 2172298 h 2344739"/>
              <a:gd name="connsiteX141" fmla="*/ 4716674 w 12193149"/>
              <a:gd name="connsiteY141" fmla="*/ 2173573 h 2344739"/>
              <a:gd name="connsiteX142" fmla="*/ 4516962 w 12193149"/>
              <a:gd name="connsiteY142" fmla="*/ 2163671 h 2344739"/>
              <a:gd name="connsiteX143" fmla="*/ 4429691 w 12193149"/>
              <a:gd name="connsiteY143" fmla="*/ 2153020 h 2344739"/>
              <a:gd name="connsiteX144" fmla="*/ 4364023 w 12193149"/>
              <a:gd name="connsiteY144" fmla="*/ 2151674 h 2344739"/>
              <a:gd name="connsiteX145" fmla="*/ 4318114 w 12193149"/>
              <a:gd name="connsiteY145" fmla="*/ 2158289 h 2344739"/>
              <a:gd name="connsiteX146" fmla="*/ 4316258 w 12193149"/>
              <a:gd name="connsiteY146" fmla="*/ 2156948 h 2344739"/>
              <a:gd name="connsiteX147" fmla="*/ 4296292 w 12193149"/>
              <a:gd name="connsiteY147" fmla="*/ 2155069 h 2344739"/>
              <a:gd name="connsiteX148" fmla="*/ 4291212 w 12193149"/>
              <a:gd name="connsiteY148" fmla="*/ 2157986 h 2344739"/>
              <a:gd name="connsiteX149" fmla="*/ 4277290 w 12193149"/>
              <a:gd name="connsiteY149" fmla="*/ 2157740 h 2344739"/>
              <a:gd name="connsiteX150" fmla="*/ 4249265 w 12193149"/>
              <a:gd name="connsiteY150" fmla="*/ 2160064 h 2344739"/>
              <a:gd name="connsiteX151" fmla="*/ 4203199 w 12193149"/>
              <a:gd name="connsiteY151" fmla="*/ 2157269 h 2344739"/>
              <a:gd name="connsiteX152" fmla="*/ 4202893 w 12193149"/>
              <a:gd name="connsiteY152" fmla="*/ 2156010 h 2344739"/>
              <a:gd name="connsiteX153" fmla="*/ 4192396 w 12193149"/>
              <a:gd name="connsiteY153" fmla="*/ 2150376 h 2344739"/>
              <a:gd name="connsiteX154" fmla="*/ 4143893 w 12193149"/>
              <a:gd name="connsiteY154" fmla="*/ 2134511 h 2344739"/>
              <a:gd name="connsiteX155" fmla="*/ 4084245 w 12193149"/>
              <a:gd name="connsiteY155" fmla="*/ 2107978 h 2344739"/>
              <a:gd name="connsiteX156" fmla="*/ 4075694 w 12193149"/>
              <a:gd name="connsiteY156" fmla="*/ 2107143 h 2344739"/>
              <a:gd name="connsiteX157" fmla="*/ 4075575 w 12193149"/>
              <a:gd name="connsiteY157" fmla="*/ 2106844 h 2344739"/>
              <a:gd name="connsiteX158" fmla="*/ 4066658 w 12193149"/>
              <a:gd name="connsiteY158" fmla="*/ 2105400 h 2344739"/>
              <a:gd name="connsiteX159" fmla="*/ 4060102 w 12193149"/>
              <a:gd name="connsiteY159" fmla="*/ 2105618 h 2344739"/>
              <a:gd name="connsiteX160" fmla="*/ 4043512 w 12193149"/>
              <a:gd name="connsiteY160" fmla="*/ 2103997 h 2344739"/>
              <a:gd name="connsiteX161" fmla="*/ 4038145 w 12193149"/>
              <a:gd name="connsiteY161" fmla="*/ 2101563 h 2344739"/>
              <a:gd name="connsiteX162" fmla="*/ 4036511 w 12193149"/>
              <a:gd name="connsiteY162" fmla="*/ 2097896 h 2344739"/>
              <a:gd name="connsiteX163" fmla="*/ 4034926 w 12193149"/>
              <a:gd name="connsiteY163" fmla="*/ 2098131 h 2344739"/>
              <a:gd name="connsiteX164" fmla="*/ 4005686 w 12193149"/>
              <a:gd name="connsiteY164" fmla="*/ 2085563 h 2344739"/>
              <a:gd name="connsiteX165" fmla="*/ 3937994 w 12193149"/>
              <a:gd name="connsiteY165" fmla="*/ 2068106 h 2344739"/>
              <a:gd name="connsiteX166" fmla="*/ 3898423 w 12193149"/>
              <a:gd name="connsiteY166" fmla="*/ 2062451 h 2344739"/>
              <a:gd name="connsiteX167" fmla="*/ 3790908 w 12193149"/>
              <a:gd name="connsiteY167" fmla="*/ 2042213 h 2344739"/>
              <a:gd name="connsiteX168" fmla="*/ 3683661 w 12193149"/>
              <a:gd name="connsiteY168" fmla="*/ 2018290 h 2344739"/>
              <a:gd name="connsiteX169" fmla="*/ 3611183 w 12193149"/>
              <a:gd name="connsiteY169" fmla="*/ 1986019 h 2344739"/>
              <a:gd name="connsiteX170" fmla="*/ 3605003 w 12193149"/>
              <a:gd name="connsiteY170" fmla="*/ 1987381 h 2344739"/>
              <a:gd name="connsiteX171" fmla="*/ 3595884 w 12193149"/>
              <a:gd name="connsiteY171" fmla="*/ 1987545 h 2344739"/>
              <a:gd name="connsiteX172" fmla="*/ 3595649 w 12193149"/>
              <a:gd name="connsiteY172" fmla="*/ 1987276 h 2344739"/>
              <a:gd name="connsiteX173" fmla="*/ 3587126 w 12193149"/>
              <a:gd name="connsiteY173" fmla="*/ 1987966 h 2344739"/>
              <a:gd name="connsiteX174" fmla="*/ 3537283 w 12193149"/>
              <a:gd name="connsiteY174" fmla="*/ 1978267 h 2344739"/>
              <a:gd name="connsiteX175" fmla="*/ 3474371 w 12193149"/>
              <a:gd name="connsiteY175" fmla="*/ 1974606 h 2344739"/>
              <a:gd name="connsiteX176" fmla="*/ 3401876 w 12193149"/>
              <a:gd name="connsiteY176" fmla="*/ 1962558 h 2344739"/>
              <a:gd name="connsiteX177" fmla="*/ 3365036 w 12193149"/>
              <a:gd name="connsiteY177" fmla="*/ 1979510 h 2344739"/>
              <a:gd name="connsiteX178" fmla="*/ 3345174 w 12193149"/>
              <a:gd name="connsiteY178" fmla="*/ 1981192 h 2344739"/>
              <a:gd name="connsiteX179" fmla="*/ 3342846 w 12193149"/>
              <a:gd name="connsiteY179" fmla="*/ 1980217 h 2344739"/>
              <a:gd name="connsiteX180" fmla="*/ 3263504 w 12193149"/>
              <a:gd name="connsiteY180" fmla="*/ 1986094 h 2344739"/>
              <a:gd name="connsiteX181" fmla="*/ 3143704 w 12193149"/>
              <a:gd name="connsiteY181" fmla="*/ 1993869 h 2344739"/>
              <a:gd name="connsiteX182" fmla="*/ 3031439 w 12193149"/>
              <a:gd name="connsiteY182" fmla="*/ 1996512 h 2344739"/>
              <a:gd name="connsiteX183" fmla="*/ 2782717 w 12193149"/>
              <a:gd name="connsiteY183" fmla="*/ 2018333 h 2344739"/>
              <a:gd name="connsiteX184" fmla="*/ 2647675 w 12193149"/>
              <a:gd name="connsiteY184" fmla="*/ 2028869 h 2344739"/>
              <a:gd name="connsiteX185" fmla="*/ 2569176 w 12193149"/>
              <a:gd name="connsiteY185" fmla="*/ 2002628 h 2344739"/>
              <a:gd name="connsiteX186" fmla="*/ 2444403 w 12193149"/>
              <a:gd name="connsiteY186" fmla="*/ 2016529 h 2344739"/>
              <a:gd name="connsiteX187" fmla="*/ 2316260 w 12193149"/>
              <a:gd name="connsiteY187" fmla="*/ 2024996 h 2344739"/>
              <a:gd name="connsiteX188" fmla="*/ 2209726 w 12193149"/>
              <a:gd name="connsiteY188" fmla="*/ 2019763 h 2344739"/>
              <a:gd name="connsiteX189" fmla="*/ 2095813 w 12193149"/>
              <a:gd name="connsiteY189" fmla="*/ 2003052 h 2344739"/>
              <a:gd name="connsiteX190" fmla="*/ 1998504 w 12193149"/>
              <a:gd name="connsiteY190" fmla="*/ 1995032 h 2344739"/>
              <a:gd name="connsiteX191" fmla="*/ 1929320 w 12193149"/>
              <a:gd name="connsiteY191" fmla="*/ 2016977 h 2344739"/>
              <a:gd name="connsiteX192" fmla="*/ 1922798 w 12193149"/>
              <a:gd name="connsiteY192" fmla="*/ 2012146 h 2344739"/>
              <a:gd name="connsiteX193" fmla="*/ 1874228 w 12193149"/>
              <a:gd name="connsiteY193" fmla="*/ 2013741 h 2344739"/>
              <a:gd name="connsiteX194" fmla="*/ 1787803 w 12193149"/>
              <a:gd name="connsiteY194" fmla="*/ 2041363 h 2344739"/>
              <a:gd name="connsiteX195" fmla="*/ 1739352 w 12193149"/>
              <a:gd name="connsiteY195" fmla="*/ 2036312 h 2344739"/>
              <a:gd name="connsiteX196" fmla="*/ 1676219 w 12193149"/>
              <a:gd name="connsiteY196" fmla="*/ 2019963 h 2344739"/>
              <a:gd name="connsiteX197" fmla="*/ 1609817 w 12193149"/>
              <a:gd name="connsiteY197" fmla="*/ 2013066 h 2344739"/>
              <a:gd name="connsiteX198" fmla="*/ 1497258 w 12193149"/>
              <a:gd name="connsiteY198" fmla="*/ 1987476 h 2344739"/>
              <a:gd name="connsiteX199" fmla="*/ 1151127 w 12193149"/>
              <a:gd name="connsiteY199" fmla="*/ 1938041 h 2344739"/>
              <a:gd name="connsiteX200" fmla="*/ 859417 w 12193149"/>
              <a:gd name="connsiteY200" fmla="*/ 1928608 h 2344739"/>
              <a:gd name="connsiteX201" fmla="*/ 838688 w 12193149"/>
              <a:gd name="connsiteY201" fmla="*/ 1929821 h 2344739"/>
              <a:gd name="connsiteX202" fmla="*/ 817957 w 12193149"/>
              <a:gd name="connsiteY202" fmla="*/ 1927857 h 2344739"/>
              <a:gd name="connsiteX203" fmla="*/ 812654 w 12193149"/>
              <a:gd name="connsiteY203" fmla="*/ 1930751 h 2344739"/>
              <a:gd name="connsiteX204" fmla="*/ 721195 w 12193149"/>
              <a:gd name="connsiteY204" fmla="*/ 1929661 h 2344739"/>
              <a:gd name="connsiteX205" fmla="*/ 720890 w 12193149"/>
              <a:gd name="connsiteY205" fmla="*/ 1928399 h 2344739"/>
              <a:gd name="connsiteX206" fmla="*/ 710023 w 12193149"/>
              <a:gd name="connsiteY206" fmla="*/ 1922722 h 2344739"/>
              <a:gd name="connsiteX207" fmla="*/ 597940 w 12193149"/>
              <a:gd name="connsiteY207" fmla="*/ 1879864 h 2344739"/>
              <a:gd name="connsiteX208" fmla="*/ 579683 w 12193149"/>
              <a:gd name="connsiteY208" fmla="*/ 1877212 h 2344739"/>
              <a:gd name="connsiteX209" fmla="*/ 572865 w 12193149"/>
              <a:gd name="connsiteY209" fmla="*/ 1877401 h 2344739"/>
              <a:gd name="connsiteX210" fmla="*/ 446247 w 12193149"/>
              <a:gd name="connsiteY210" fmla="*/ 1839371 h 2344739"/>
              <a:gd name="connsiteX211" fmla="*/ 405163 w 12193149"/>
              <a:gd name="connsiteY211" fmla="*/ 1833548 h 2344739"/>
              <a:gd name="connsiteX212" fmla="*/ 293583 w 12193149"/>
              <a:gd name="connsiteY212" fmla="*/ 1812852 h 2344739"/>
              <a:gd name="connsiteX213" fmla="*/ 119529 w 12193149"/>
              <a:gd name="connsiteY213" fmla="*/ 1761047 h 2344739"/>
              <a:gd name="connsiteX214" fmla="*/ 16674 w 12193149"/>
              <a:gd name="connsiteY214" fmla="*/ 1758191 h 2344739"/>
              <a:gd name="connsiteX215" fmla="*/ 1150 w 12193149"/>
              <a:gd name="connsiteY215" fmla="*/ 1752722 h 2344739"/>
              <a:gd name="connsiteX216" fmla="*/ 1148 w 12193149"/>
              <a:gd name="connsiteY216" fmla="*/ 222213 h 2344739"/>
              <a:gd name="connsiteX217" fmla="*/ 1148 w 12193149"/>
              <a:gd name="connsiteY217" fmla="*/ 0 h 2344739"/>
              <a:gd name="connsiteX0" fmla="*/ 1148 w 12193149"/>
              <a:gd name="connsiteY0" fmla="*/ 0 h 2344739"/>
              <a:gd name="connsiteX1" fmla="*/ 12193148 w 12193149"/>
              <a:gd name="connsiteY1" fmla="*/ 0 h 2344739"/>
              <a:gd name="connsiteX2" fmla="*/ 12193149 w 12193149"/>
              <a:gd name="connsiteY2" fmla="*/ 579739 h 2344739"/>
              <a:gd name="connsiteX3" fmla="*/ 12185986 w 12193149"/>
              <a:gd name="connsiteY3" fmla="*/ 584189 h 2344739"/>
              <a:gd name="connsiteX4" fmla="*/ 12156363 w 12193149"/>
              <a:gd name="connsiteY4" fmla="*/ 597366 h 2344739"/>
              <a:gd name="connsiteX5" fmla="*/ 12139215 w 12193149"/>
              <a:gd name="connsiteY5" fmla="*/ 623179 h 2344739"/>
              <a:gd name="connsiteX6" fmla="*/ 12126327 w 12193149"/>
              <a:gd name="connsiteY6" fmla="*/ 624690 h 2344739"/>
              <a:gd name="connsiteX7" fmla="*/ 12124007 w 12193149"/>
              <a:gd name="connsiteY7" fmla="*/ 624794 h 2344739"/>
              <a:gd name="connsiteX8" fmla="*/ 12116854 w 12193149"/>
              <a:gd name="connsiteY8" fmla="*/ 628608 h 2344739"/>
              <a:gd name="connsiteX9" fmla="*/ 12099497 w 12193149"/>
              <a:gd name="connsiteY9" fmla="*/ 628139 h 2344739"/>
              <a:gd name="connsiteX10" fmla="*/ 12087073 w 12193149"/>
              <a:gd name="connsiteY10" fmla="*/ 636341 h 2344739"/>
              <a:gd name="connsiteX11" fmla="*/ 12031073 w 12193149"/>
              <a:gd name="connsiteY11" fmla="*/ 680009 h 2344739"/>
              <a:gd name="connsiteX12" fmla="*/ 11995833 w 12193149"/>
              <a:gd name="connsiteY12" fmla="*/ 703458 h 2344739"/>
              <a:gd name="connsiteX13" fmla="*/ 11979717 w 12193149"/>
              <a:gd name="connsiteY13" fmla="*/ 708161 h 2344739"/>
              <a:gd name="connsiteX14" fmla="*/ 11959046 w 12193149"/>
              <a:gd name="connsiteY14" fmla="*/ 717558 h 2344739"/>
              <a:gd name="connsiteX15" fmla="*/ 11920454 w 12193149"/>
              <a:gd name="connsiteY15" fmla="*/ 730883 h 2344739"/>
              <a:gd name="connsiteX16" fmla="*/ 11903656 w 12193149"/>
              <a:gd name="connsiteY16" fmla="*/ 742426 h 2344739"/>
              <a:gd name="connsiteX17" fmla="*/ 11895048 w 12193149"/>
              <a:gd name="connsiteY17" fmla="*/ 744791 h 2344739"/>
              <a:gd name="connsiteX18" fmla="*/ 11891968 w 12193149"/>
              <a:gd name="connsiteY18" fmla="*/ 755729 h 2344739"/>
              <a:gd name="connsiteX19" fmla="*/ 11870776 w 12193149"/>
              <a:gd name="connsiteY19" fmla="*/ 777816 h 2344739"/>
              <a:gd name="connsiteX20" fmla="*/ 11813376 w 12193149"/>
              <a:gd name="connsiteY20" fmla="*/ 797659 h 2344739"/>
              <a:gd name="connsiteX21" fmla="*/ 11590693 w 12193149"/>
              <a:gd name="connsiteY21" fmla="*/ 963777 h 2344739"/>
              <a:gd name="connsiteX22" fmla="*/ 11506817 w 12193149"/>
              <a:gd name="connsiteY22" fmla="*/ 1033623 h 2344739"/>
              <a:gd name="connsiteX23" fmla="*/ 11280332 w 12193149"/>
              <a:gd name="connsiteY23" fmla="*/ 1223571 h 2344739"/>
              <a:gd name="connsiteX24" fmla="*/ 11228309 w 12193149"/>
              <a:gd name="connsiteY24" fmla="*/ 1276236 h 2344739"/>
              <a:gd name="connsiteX25" fmla="*/ 11218087 w 12193149"/>
              <a:gd name="connsiteY25" fmla="*/ 1275961 h 2344739"/>
              <a:gd name="connsiteX26" fmla="*/ 11217184 w 12193149"/>
              <a:gd name="connsiteY26" fmla="*/ 1275018 h 2344739"/>
              <a:gd name="connsiteX27" fmla="*/ 11188885 w 12193149"/>
              <a:gd name="connsiteY27" fmla="*/ 1292383 h 2344739"/>
              <a:gd name="connsiteX28" fmla="*/ 11184501 w 12193149"/>
              <a:gd name="connsiteY28" fmla="*/ 1292525 h 2344739"/>
              <a:gd name="connsiteX29" fmla="*/ 11166854 w 12193149"/>
              <a:gd name="connsiteY29" fmla="*/ 1306612 h 2344739"/>
              <a:gd name="connsiteX30" fmla="*/ 11157311 w 12193149"/>
              <a:gd name="connsiteY30" fmla="*/ 1312414 h 2344739"/>
              <a:gd name="connsiteX31" fmla="*/ 11155496 w 12193149"/>
              <a:gd name="connsiteY31" fmla="*/ 1317097 h 2344739"/>
              <a:gd name="connsiteX32" fmla="*/ 11140961 w 12193149"/>
              <a:gd name="connsiteY32" fmla="*/ 1324115 h 2344739"/>
              <a:gd name="connsiteX33" fmla="*/ 11138961 w 12193149"/>
              <a:gd name="connsiteY33" fmla="*/ 1323772 h 2344739"/>
              <a:gd name="connsiteX34" fmla="*/ 11128208 w 12193149"/>
              <a:gd name="connsiteY34" fmla="*/ 1333832 h 2344739"/>
              <a:gd name="connsiteX35" fmla="*/ 11120691 w 12193149"/>
              <a:gd name="connsiteY35" fmla="*/ 1347424 h 2344739"/>
              <a:gd name="connsiteX36" fmla="*/ 10894683 w 12193149"/>
              <a:gd name="connsiteY36" fmla="*/ 1473399 h 2344739"/>
              <a:gd name="connsiteX37" fmla="*/ 10773300 w 12193149"/>
              <a:gd name="connsiteY37" fmla="*/ 1523191 h 2344739"/>
              <a:gd name="connsiteX38" fmla="*/ 10627668 w 12193149"/>
              <a:gd name="connsiteY38" fmla="*/ 1559229 h 2344739"/>
              <a:gd name="connsiteX39" fmla="*/ 10581895 w 12193149"/>
              <a:gd name="connsiteY39" fmla="*/ 1568689 h 2344739"/>
              <a:gd name="connsiteX40" fmla="*/ 10547790 w 12193149"/>
              <a:gd name="connsiteY40" fmla="*/ 1598423 h 2344739"/>
              <a:gd name="connsiteX41" fmla="*/ 10529643 w 12193149"/>
              <a:gd name="connsiteY41" fmla="*/ 1596907 h 2344739"/>
              <a:gd name="connsiteX42" fmla="*/ 10526446 w 12193149"/>
              <a:gd name="connsiteY42" fmla="*/ 1596411 h 2344739"/>
              <a:gd name="connsiteX43" fmla="*/ 10515129 w 12193149"/>
              <a:gd name="connsiteY43" fmla="*/ 1599537 h 2344739"/>
              <a:gd name="connsiteX44" fmla="*/ 10491735 w 12193149"/>
              <a:gd name="connsiteY44" fmla="*/ 1594156 h 2344739"/>
              <a:gd name="connsiteX45" fmla="*/ 10471418 w 12193149"/>
              <a:gd name="connsiteY45" fmla="*/ 1601693 h 2344739"/>
              <a:gd name="connsiteX46" fmla="*/ 10377042 w 12193149"/>
              <a:gd name="connsiteY46" fmla="*/ 1644598 h 2344739"/>
              <a:gd name="connsiteX47" fmla="*/ 10319338 w 12193149"/>
              <a:gd name="connsiteY47" fmla="*/ 1666221 h 2344739"/>
              <a:gd name="connsiteX48" fmla="*/ 10295467 w 12193149"/>
              <a:gd name="connsiteY48" fmla="*/ 1668079 h 2344739"/>
              <a:gd name="connsiteX49" fmla="*/ 10263443 w 12193149"/>
              <a:gd name="connsiteY49" fmla="*/ 1674948 h 2344739"/>
              <a:gd name="connsiteX50" fmla="*/ 10205418 w 12193149"/>
              <a:gd name="connsiteY50" fmla="*/ 1682149 h 2344739"/>
              <a:gd name="connsiteX51" fmla="*/ 10177759 w 12193149"/>
              <a:gd name="connsiteY51" fmla="*/ 1692943 h 2344739"/>
              <a:gd name="connsiteX52" fmla="*/ 10165070 w 12193149"/>
              <a:gd name="connsiteY52" fmla="*/ 1693739 h 2344739"/>
              <a:gd name="connsiteX53" fmla="*/ 10156308 w 12193149"/>
              <a:gd name="connsiteY53" fmla="*/ 1707487 h 2344739"/>
              <a:gd name="connsiteX54" fmla="*/ 10118267 w 12193149"/>
              <a:gd name="connsiteY54" fmla="*/ 1731142 h 2344739"/>
              <a:gd name="connsiteX55" fmla="*/ 10083317 w 12193149"/>
              <a:gd name="connsiteY55" fmla="*/ 1743296 h 2344739"/>
              <a:gd name="connsiteX56" fmla="*/ 10040388 w 12193149"/>
              <a:gd name="connsiteY56" fmla="*/ 1741632 h 2344739"/>
              <a:gd name="connsiteX57" fmla="*/ 9961167 w 12193149"/>
              <a:gd name="connsiteY57" fmla="*/ 1757147 h 2344739"/>
              <a:gd name="connsiteX58" fmla="*/ 9848940 w 12193149"/>
              <a:gd name="connsiteY58" fmla="*/ 1763915 h 2344739"/>
              <a:gd name="connsiteX59" fmla="*/ 9729457 w 12193149"/>
              <a:gd name="connsiteY59" fmla="*/ 1784122 h 2344739"/>
              <a:gd name="connsiteX60" fmla="*/ 9613704 w 12193149"/>
              <a:gd name="connsiteY60" fmla="*/ 1812371 h 2344739"/>
              <a:gd name="connsiteX61" fmla="*/ 9338590 w 12193149"/>
              <a:gd name="connsiteY61" fmla="*/ 1869293 h 2344739"/>
              <a:gd name="connsiteX62" fmla="*/ 9232518 w 12193149"/>
              <a:gd name="connsiteY62" fmla="*/ 1893149 h 2344739"/>
              <a:gd name="connsiteX63" fmla="*/ 9156690 w 12193149"/>
              <a:gd name="connsiteY63" fmla="*/ 1903228 h 2344739"/>
              <a:gd name="connsiteX64" fmla="*/ 9054601 w 12193149"/>
              <a:gd name="connsiteY64" fmla="*/ 1910755 h 2344739"/>
              <a:gd name="connsiteX65" fmla="*/ 9006634 w 12193149"/>
              <a:gd name="connsiteY65" fmla="*/ 1914040 h 2344739"/>
              <a:gd name="connsiteX66" fmla="*/ 9006349 w 12193149"/>
              <a:gd name="connsiteY66" fmla="*/ 1913800 h 2344739"/>
              <a:gd name="connsiteX67" fmla="*/ 8997380 w 12193149"/>
              <a:gd name="connsiteY67" fmla="*/ 1915011 h 2344739"/>
              <a:gd name="connsiteX68" fmla="*/ 8991542 w 12193149"/>
              <a:gd name="connsiteY68" fmla="*/ 1917072 h 2344739"/>
              <a:gd name="connsiteX69" fmla="*/ 8975485 w 12193149"/>
              <a:gd name="connsiteY69" fmla="*/ 1920298 h 2344739"/>
              <a:gd name="connsiteX70" fmla="*/ 8969159 w 12193149"/>
              <a:gd name="connsiteY70" fmla="*/ 1919598 h 2344739"/>
              <a:gd name="connsiteX71" fmla="*/ 8964196 w 12193149"/>
              <a:gd name="connsiteY71" fmla="*/ 1917373 h 2344739"/>
              <a:gd name="connsiteX72" fmla="*/ 8930136 w 12193149"/>
              <a:gd name="connsiteY72" fmla="*/ 1914185 h 2344739"/>
              <a:gd name="connsiteX73" fmla="*/ 8753592 w 12193149"/>
              <a:gd name="connsiteY73" fmla="*/ 1933417 h 2344739"/>
              <a:gd name="connsiteX74" fmla="*/ 8708995 w 12193149"/>
              <a:gd name="connsiteY74" fmla="*/ 1935518 h 2344739"/>
              <a:gd name="connsiteX75" fmla="*/ 8597219 w 12193149"/>
              <a:gd name="connsiteY75" fmla="*/ 1944090 h 2344739"/>
              <a:gd name="connsiteX76" fmla="*/ 8526378 w 12193149"/>
              <a:gd name="connsiteY76" fmla="*/ 1929248 h 2344739"/>
              <a:gd name="connsiteX77" fmla="*/ 8512131 w 12193149"/>
              <a:gd name="connsiteY77" fmla="*/ 1935163 h 2344739"/>
              <a:gd name="connsiteX78" fmla="*/ 8507315 w 12193149"/>
              <a:gd name="connsiteY78" fmla="*/ 1938164 h 2344739"/>
              <a:gd name="connsiteX79" fmla="*/ 8499116 w 12193149"/>
              <a:gd name="connsiteY79" fmla="*/ 1940902 h 2344739"/>
              <a:gd name="connsiteX80" fmla="*/ 8498742 w 12193149"/>
              <a:gd name="connsiteY80" fmla="*/ 1940723 h 2344739"/>
              <a:gd name="connsiteX81" fmla="*/ 8491397 w 12193149"/>
              <a:gd name="connsiteY81" fmla="*/ 1943773 h 2344739"/>
              <a:gd name="connsiteX82" fmla="*/ 8368330 w 12193149"/>
              <a:gd name="connsiteY82" fmla="*/ 1957815 h 2344739"/>
              <a:gd name="connsiteX83" fmla="*/ 8354947 w 12193149"/>
              <a:gd name="connsiteY83" fmla="*/ 1958009 h 2344739"/>
              <a:gd name="connsiteX84" fmla="*/ 8321252 w 12193149"/>
              <a:gd name="connsiteY84" fmla="*/ 1974587 h 2344739"/>
              <a:gd name="connsiteX85" fmla="*/ 8315581 w 12193149"/>
              <a:gd name="connsiteY85" fmla="*/ 1974913 h 2344739"/>
              <a:gd name="connsiteX86" fmla="*/ 8296322 w 12193149"/>
              <a:gd name="connsiteY86" fmla="*/ 1988808 h 2344739"/>
              <a:gd name="connsiteX87" fmla="*/ 8285424 w 12193149"/>
              <a:gd name="connsiteY87" fmla="*/ 1994631 h 2344739"/>
              <a:gd name="connsiteX88" fmla="*/ 8284298 w 12193149"/>
              <a:gd name="connsiteY88" fmla="*/ 1999074 h 2344739"/>
              <a:gd name="connsiteX89" fmla="*/ 8267224 w 12193149"/>
              <a:gd name="connsiteY89" fmla="*/ 2006249 h 2344739"/>
              <a:gd name="connsiteX90" fmla="*/ 8264525 w 12193149"/>
              <a:gd name="connsiteY90" fmla="*/ 2006019 h 2344739"/>
              <a:gd name="connsiteX91" fmla="*/ 8253181 w 12193149"/>
              <a:gd name="connsiteY91" fmla="*/ 2015862 h 2344739"/>
              <a:gd name="connsiteX92" fmla="*/ 8246982 w 12193149"/>
              <a:gd name="connsiteY92" fmla="*/ 2028854 h 2344739"/>
              <a:gd name="connsiteX93" fmla="*/ 8091420 w 12193149"/>
              <a:gd name="connsiteY93" fmla="*/ 2075015 h 2344739"/>
              <a:gd name="connsiteX94" fmla="*/ 7906555 w 12193149"/>
              <a:gd name="connsiteY94" fmla="*/ 2116988 h 2344739"/>
              <a:gd name="connsiteX95" fmla="*/ 7719893 w 12193149"/>
              <a:gd name="connsiteY95" fmla="*/ 2142703 h 2344739"/>
              <a:gd name="connsiteX96" fmla="*/ 7615495 w 12193149"/>
              <a:gd name="connsiteY96" fmla="*/ 2139232 h 2344739"/>
              <a:gd name="connsiteX97" fmla="*/ 7528691 w 12193149"/>
              <a:gd name="connsiteY97" fmla="*/ 2145060 h 2344739"/>
              <a:gd name="connsiteX98" fmla="*/ 7520719 w 12193149"/>
              <a:gd name="connsiteY98" fmla="*/ 2147613 h 2344739"/>
              <a:gd name="connsiteX99" fmla="*/ 7508559 w 12193149"/>
              <a:gd name="connsiteY99" fmla="*/ 2148948 h 2344739"/>
              <a:gd name="connsiteX100" fmla="*/ 7508188 w 12193149"/>
              <a:gd name="connsiteY100" fmla="*/ 2148621 h 2344739"/>
              <a:gd name="connsiteX101" fmla="*/ 7496943 w 12193149"/>
              <a:gd name="connsiteY101" fmla="*/ 2150573 h 2344739"/>
              <a:gd name="connsiteX102" fmla="*/ 7219707 w 12193149"/>
              <a:gd name="connsiteY102" fmla="*/ 2156680 h 2344739"/>
              <a:gd name="connsiteX103" fmla="*/ 7202249 w 12193149"/>
              <a:gd name="connsiteY103" fmla="*/ 2161230 h 2344739"/>
              <a:gd name="connsiteX104" fmla="*/ 7198152 w 12193149"/>
              <a:gd name="connsiteY104" fmla="*/ 2166588 h 2344739"/>
              <a:gd name="connsiteX105" fmla="*/ 7171956 w 12193149"/>
              <a:gd name="connsiteY105" fmla="*/ 2171236 h 2344739"/>
              <a:gd name="connsiteX106" fmla="*/ 7098136 w 12193149"/>
              <a:gd name="connsiteY106" fmla="*/ 2183464 h 2344739"/>
              <a:gd name="connsiteX107" fmla="*/ 7019644 w 12193149"/>
              <a:gd name="connsiteY107" fmla="*/ 2183090 h 2344739"/>
              <a:gd name="connsiteX108" fmla="*/ 6905294 w 12193149"/>
              <a:gd name="connsiteY108" fmla="*/ 2212596 h 2344739"/>
              <a:gd name="connsiteX109" fmla="*/ 6709370 w 12193149"/>
              <a:gd name="connsiteY109" fmla="*/ 2240551 h 2344739"/>
              <a:gd name="connsiteX110" fmla="*/ 6550602 w 12193149"/>
              <a:gd name="connsiteY110" fmla="*/ 2269327 h 2344739"/>
              <a:gd name="connsiteX111" fmla="*/ 6318708 w 12193149"/>
              <a:gd name="connsiteY111" fmla="*/ 2316127 h 2344739"/>
              <a:gd name="connsiteX112" fmla="*/ 6169822 w 12193149"/>
              <a:gd name="connsiteY112" fmla="*/ 2318214 h 2344739"/>
              <a:gd name="connsiteX113" fmla="*/ 6074996 w 12193149"/>
              <a:gd name="connsiteY113" fmla="*/ 2338676 h 2344739"/>
              <a:gd name="connsiteX114" fmla="*/ 6069677 w 12193149"/>
              <a:gd name="connsiteY114" fmla="*/ 2337139 h 2344739"/>
              <a:gd name="connsiteX115" fmla="*/ 6049786 w 12193149"/>
              <a:gd name="connsiteY115" fmla="*/ 2337822 h 2344739"/>
              <a:gd name="connsiteX116" fmla="*/ 6042433 w 12193149"/>
              <a:gd name="connsiteY116" fmla="*/ 2329473 h 2344739"/>
              <a:gd name="connsiteX117" fmla="*/ 6011238 w 12193149"/>
              <a:gd name="connsiteY117" fmla="*/ 2324380 h 2344739"/>
              <a:gd name="connsiteX118" fmla="*/ 5958523 w 12193149"/>
              <a:gd name="connsiteY118" fmla="*/ 2328024 h 2344739"/>
              <a:gd name="connsiteX119" fmla="*/ 5760067 w 12193149"/>
              <a:gd name="connsiteY119" fmla="*/ 2343716 h 2344739"/>
              <a:gd name="connsiteX120" fmla="*/ 5628108 w 12193149"/>
              <a:gd name="connsiteY120" fmla="*/ 2344739 h 2344739"/>
              <a:gd name="connsiteX121" fmla="*/ 5472054 w 12193149"/>
              <a:gd name="connsiteY121" fmla="*/ 2330719 h 2344739"/>
              <a:gd name="connsiteX122" fmla="*/ 5433909 w 12193149"/>
              <a:gd name="connsiteY122" fmla="*/ 2319466 h 2344739"/>
              <a:gd name="connsiteX123" fmla="*/ 5382817 w 12193149"/>
              <a:gd name="connsiteY123" fmla="*/ 2301764 h 2344739"/>
              <a:gd name="connsiteX124" fmla="*/ 5262912 w 12193149"/>
              <a:gd name="connsiteY124" fmla="*/ 2281347 h 2344739"/>
              <a:gd name="connsiteX125" fmla="*/ 5224109 w 12193149"/>
              <a:gd name="connsiteY125" fmla="*/ 2270223 h 2344739"/>
              <a:gd name="connsiteX126" fmla="*/ 5175808 w 12193149"/>
              <a:gd name="connsiteY126" fmla="*/ 2267233 h 2344739"/>
              <a:gd name="connsiteX127" fmla="*/ 5157702 w 12193149"/>
              <a:gd name="connsiteY127" fmla="*/ 2260010 h 2344739"/>
              <a:gd name="connsiteX128" fmla="*/ 5143747 w 12193149"/>
              <a:gd name="connsiteY128" fmla="*/ 2256610 h 2344739"/>
              <a:gd name="connsiteX129" fmla="*/ 5140744 w 12193149"/>
              <a:gd name="connsiteY129" fmla="*/ 2254509 h 2344739"/>
              <a:gd name="connsiteX130" fmla="*/ 5122807 w 12193149"/>
              <a:gd name="connsiteY130" fmla="*/ 2243656 h 2344739"/>
              <a:gd name="connsiteX131" fmla="*/ 5066938 w 12193149"/>
              <a:gd name="connsiteY131" fmla="*/ 2250227 h 2344739"/>
              <a:gd name="connsiteX132" fmla="*/ 5012662 w 12193149"/>
              <a:gd name="connsiteY132" fmla="*/ 2233846 h 2344739"/>
              <a:gd name="connsiteX133" fmla="*/ 4841589 w 12193149"/>
              <a:gd name="connsiteY133" fmla="*/ 2209829 h 2344739"/>
              <a:gd name="connsiteX134" fmla="*/ 4763595 w 12193149"/>
              <a:gd name="connsiteY134" fmla="*/ 2182061 h 2344739"/>
              <a:gd name="connsiteX135" fmla="*/ 4724334 w 12193149"/>
              <a:gd name="connsiteY135" fmla="*/ 2173047 h 2344739"/>
              <a:gd name="connsiteX136" fmla="*/ 4722324 w 12193149"/>
              <a:gd name="connsiteY136" fmla="*/ 2172298 h 2344739"/>
              <a:gd name="connsiteX137" fmla="*/ 4723259 w 12193149"/>
              <a:gd name="connsiteY137" fmla="*/ 2172087 h 2344739"/>
              <a:gd name="connsiteX138" fmla="*/ 4718350 w 12193149"/>
              <a:gd name="connsiteY138" fmla="*/ 2170817 h 2344739"/>
              <a:gd name="connsiteX139" fmla="*/ 4722324 w 12193149"/>
              <a:gd name="connsiteY139" fmla="*/ 2172298 h 2344739"/>
              <a:gd name="connsiteX140" fmla="*/ 4716674 w 12193149"/>
              <a:gd name="connsiteY140" fmla="*/ 2173573 h 2344739"/>
              <a:gd name="connsiteX141" fmla="*/ 4516962 w 12193149"/>
              <a:gd name="connsiteY141" fmla="*/ 2163671 h 2344739"/>
              <a:gd name="connsiteX142" fmla="*/ 4429691 w 12193149"/>
              <a:gd name="connsiteY142" fmla="*/ 2153020 h 2344739"/>
              <a:gd name="connsiteX143" fmla="*/ 4364023 w 12193149"/>
              <a:gd name="connsiteY143" fmla="*/ 2151674 h 2344739"/>
              <a:gd name="connsiteX144" fmla="*/ 4318114 w 12193149"/>
              <a:gd name="connsiteY144" fmla="*/ 2158289 h 2344739"/>
              <a:gd name="connsiteX145" fmla="*/ 4316258 w 12193149"/>
              <a:gd name="connsiteY145" fmla="*/ 2156948 h 2344739"/>
              <a:gd name="connsiteX146" fmla="*/ 4296292 w 12193149"/>
              <a:gd name="connsiteY146" fmla="*/ 2155069 h 2344739"/>
              <a:gd name="connsiteX147" fmla="*/ 4291212 w 12193149"/>
              <a:gd name="connsiteY147" fmla="*/ 2157986 h 2344739"/>
              <a:gd name="connsiteX148" fmla="*/ 4277290 w 12193149"/>
              <a:gd name="connsiteY148" fmla="*/ 2157740 h 2344739"/>
              <a:gd name="connsiteX149" fmla="*/ 4249265 w 12193149"/>
              <a:gd name="connsiteY149" fmla="*/ 2160064 h 2344739"/>
              <a:gd name="connsiteX150" fmla="*/ 4203199 w 12193149"/>
              <a:gd name="connsiteY150" fmla="*/ 2157269 h 2344739"/>
              <a:gd name="connsiteX151" fmla="*/ 4202893 w 12193149"/>
              <a:gd name="connsiteY151" fmla="*/ 2156010 h 2344739"/>
              <a:gd name="connsiteX152" fmla="*/ 4192396 w 12193149"/>
              <a:gd name="connsiteY152" fmla="*/ 2150376 h 2344739"/>
              <a:gd name="connsiteX153" fmla="*/ 4143893 w 12193149"/>
              <a:gd name="connsiteY153" fmla="*/ 2134511 h 2344739"/>
              <a:gd name="connsiteX154" fmla="*/ 4084245 w 12193149"/>
              <a:gd name="connsiteY154" fmla="*/ 2107978 h 2344739"/>
              <a:gd name="connsiteX155" fmla="*/ 4075694 w 12193149"/>
              <a:gd name="connsiteY155" fmla="*/ 2107143 h 2344739"/>
              <a:gd name="connsiteX156" fmla="*/ 4075575 w 12193149"/>
              <a:gd name="connsiteY156" fmla="*/ 2106844 h 2344739"/>
              <a:gd name="connsiteX157" fmla="*/ 4066658 w 12193149"/>
              <a:gd name="connsiteY157" fmla="*/ 2105400 h 2344739"/>
              <a:gd name="connsiteX158" fmla="*/ 4060102 w 12193149"/>
              <a:gd name="connsiteY158" fmla="*/ 2105618 h 2344739"/>
              <a:gd name="connsiteX159" fmla="*/ 4043512 w 12193149"/>
              <a:gd name="connsiteY159" fmla="*/ 2103997 h 2344739"/>
              <a:gd name="connsiteX160" fmla="*/ 4038145 w 12193149"/>
              <a:gd name="connsiteY160" fmla="*/ 2101563 h 2344739"/>
              <a:gd name="connsiteX161" fmla="*/ 4036511 w 12193149"/>
              <a:gd name="connsiteY161" fmla="*/ 2097896 h 2344739"/>
              <a:gd name="connsiteX162" fmla="*/ 4034926 w 12193149"/>
              <a:gd name="connsiteY162" fmla="*/ 2098131 h 2344739"/>
              <a:gd name="connsiteX163" fmla="*/ 4005686 w 12193149"/>
              <a:gd name="connsiteY163" fmla="*/ 2085563 h 2344739"/>
              <a:gd name="connsiteX164" fmla="*/ 3937994 w 12193149"/>
              <a:gd name="connsiteY164" fmla="*/ 2068106 h 2344739"/>
              <a:gd name="connsiteX165" fmla="*/ 3898423 w 12193149"/>
              <a:gd name="connsiteY165" fmla="*/ 2062451 h 2344739"/>
              <a:gd name="connsiteX166" fmla="*/ 3790908 w 12193149"/>
              <a:gd name="connsiteY166" fmla="*/ 2042213 h 2344739"/>
              <a:gd name="connsiteX167" fmla="*/ 3683661 w 12193149"/>
              <a:gd name="connsiteY167" fmla="*/ 2018290 h 2344739"/>
              <a:gd name="connsiteX168" fmla="*/ 3611183 w 12193149"/>
              <a:gd name="connsiteY168" fmla="*/ 1986019 h 2344739"/>
              <a:gd name="connsiteX169" fmla="*/ 3605003 w 12193149"/>
              <a:gd name="connsiteY169" fmla="*/ 1987381 h 2344739"/>
              <a:gd name="connsiteX170" fmla="*/ 3595884 w 12193149"/>
              <a:gd name="connsiteY170" fmla="*/ 1987545 h 2344739"/>
              <a:gd name="connsiteX171" fmla="*/ 3595649 w 12193149"/>
              <a:gd name="connsiteY171" fmla="*/ 1987276 h 2344739"/>
              <a:gd name="connsiteX172" fmla="*/ 3587126 w 12193149"/>
              <a:gd name="connsiteY172" fmla="*/ 1987966 h 2344739"/>
              <a:gd name="connsiteX173" fmla="*/ 3537283 w 12193149"/>
              <a:gd name="connsiteY173" fmla="*/ 1978267 h 2344739"/>
              <a:gd name="connsiteX174" fmla="*/ 3474371 w 12193149"/>
              <a:gd name="connsiteY174" fmla="*/ 1974606 h 2344739"/>
              <a:gd name="connsiteX175" fmla="*/ 3401876 w 12193149"/>
              <a:gd name="connsiteY175" fmla="*/ 1962558 h 2344739"/>
              <a:gd name="connsiteX176" fmla="*/ 3365036 w 12193149"/>
              <a:gd name="connsiteY176" fmla="*/ 1979510 h 2344739"/>
              <a:gd name="connsiteX177" fmla="*/ 3345174 w 12193149"/>
              <a:gd name="connsiteY177" fmla="*/ 1981192 h 2344739"/>
              <a:gd name="connsiteX178" fmla="*/ 3342846 w 12193149"/>
              <a:gd name="connsiteY178" fmla="*/ 1980217 h 2344739"/>
              <a:gd name="connsiteX179" fmla="*/ 3263504 w 12193149"/>
              <a:gd name="connsiteY179" fmla="*/ 1986094 h 2344739"/>
              <a:gd name="connsiteX180" fmla="*/ 3143704 w 12193149"/>
              <a:gd name="connsiteY180" fmla="*/ 1993869 h 2344739"/>
              <a:gd name="connsiteX181" fmla="*/ 3031439 w 12193149"/>
              <a:gd name="connsiteY181" fmla="*/ 1996512 h 2344739"/>
              <a:gd name="connsiteX182" fmla="*/ 2782717 w 12193149"/>
              <a:gd name="connsiteY182" fmla="*/ 2018333 h 2344739"/>
              <a:gd name="connsiteX183" fmla="*/ 2647675 w 12193149"/>
              <a:gd name="connsiteY183" fmla="*/ 2028869 h 2344739"/>
              <a:gd name="connsiteX184" fmla="*/ 2569176 w 12193149"/>
              <a:gd name="connsiteY184" fmla="*/ 2002628 h 2344739"/>
              <a:gd name="connsiteX185" fmla="*/ 2444403 w 12193149"/>
              <a:gd name="connsiteY185" fmla="*/ 2016529 h 2344739"/>
              <a:gd name="connsiteX186" fmla="*/ 2316260 w 12193149"/>
              <a:gd name="connsiteY186" fmla="*/ 2024996 h 2344739"/>
              <a:gd name="connsiteX187" fmla="*/ 2209726 w 12193149"/>
              <a:gd name="connsiteY187" fmla="*/ 2019763 h 2344739"/>
              <a:gd name="connsiteX188" fmla="*/ 2095813 w 12193149"/>
              <a:gd name="connsiteY188" fmla="*/ 2003052 h 2344739"/>
              <a:gd name="connsiteX189" fmla="*/ 1998504 w 12193149"/>
              <a:gd name="connsiteY189" fmla="*/ 1995032 h 2344739"/>
              <a:gd name="connsiteX190" fmla="*/ 1929320 w 12193149"/>
              <a:gd name="connsiteY190" fmla="*/ 2016977 h 2344739"/>
              <a:gd name="connsiteX191" fmla="*/ 1922798 w 12193149"/>
              <a:gd name="connsiteY191" fmla="*/ 2012146 h 2344739"/>
              <a:gd name="connsiteX192" fmla="*/ 1874228 w 12193149"/>
              <a:gd name="connsiteY192" fmla="*/ 2013741 h 2344739"/>
              <a:gd name="connsiteX193" fmla="*/ 1787803 w 12193149"/>
              <a:gd name="connsiteY193" fmla="*/ 2041363 h 2344739"/>
              <a:gd name="connsiteX194" fmla="*/ 1739352 w 12193149"/>
              <a:gd name="connsiteY194" fmla="*/ 2036312 h 2344739"/>
              <a:gd name="connsiteX195" fmla="*/ 1676219 w 12193149"/>
              <a:gd name="connsiteY195" fmla="*/ 2019963 h 2344739"/>
              <a:gd name="connsiteX196" fmla="*/ 1609817 w 12193149"/>
              <a:gd name="connsiteY196" fmla="*/ 2013066 h 2344739"/>
              <a:gd name="connsiteX197" fmla="*/ 1497258 w 12193149"/>
              <a:gd name="connsiteY197" fmla="*/ 1987476 h 2344739"/>
              <a:gd name="connsiteX198" fmla="*/ 1151127 w 12193149"/>
              <a:gd name="connsiteY198" fmla="*/ 1938041 h 2344739"/>
              <a:gd name="connsiteX199" fmla="*/ 859417 w 12193149"/>
              <a:gd name="connsiteY199" fmla="*/ 1928608 h 2344739"/>
              <a:gd name="connsiteX200" fmla="*/ 838688 w 12193149"/>
              <a:gd name="connsiteY200" fmla="*/ 1929821 h 2344739"/>
              <a:gd name="connsiteX201" fmla="*/ 817957 w 12193149"/>
              <a:gd name="connsiteY201" fmla="*/ 1927857 h 2344739"/>
              <a:gd name="connsiteX202" fmla="*/ 812654 w 12193149"/>
              <a:gd name="connsiteY202" fmla="*/ 1930751 h 2344739"/>
              <a:gd name="connsiteX203" fmla="*/ 721195 w 12193149"/>
              <a:gd name="connsiteY203" fmla="*/ 1929661 h 2344739"/>
              <a:gd name="connsiteX204" fmla="*/ 720890 w 12193149"/>
              <a:gd name="connsiteY204" fmla="*/ 1928399 h 2344739"/>
              <a:gd name="connsiteX205" fmla="*/ 710023 w 12193149"/>
              <a:gd name="connsiteY205" fmla="*/ 1922722 h 2344739"/>
              <a:gd name="connsiteX206" fmla="*/ 597940 w 12193149"/>
              <a:gd name="connsiteY206" fmla="*/ 1879864 h 2344739"/>
              <a:gd name="connsiteX207" fmla="*/ 579683 w 12193149"/>
              <a:gd name="connsiteY207" fmla="*/ 1877212 h 2344739"/>
              <a:gd name="connsiteX208" fmla="*/ 572865 w 12193149"/>
              <a:gd name="connsiteY208" fmla="*/ 1877401 h 2344739"/>
              <a:gd name="connsiteX209" fmla="*/ 446247 w 12193149"/>
              <a:gd name="connsiteY209" fmla="*/ 1839371 h 2344739"/>
              <a:gd name="connsiteX210" fmla="*/ 405163 w 12193149"/>
              <a:gd name="connsiteY210" fmla="*/ 1833548 h 2344739"/>
              <a:gd name="connsiteX211" fmla="*/ 293583 w 12193149"/>
              <a:gd name="connsiteY211" fmla="*/ 1812852 h 2344739"/>
              <a:gd name="connsiteX212" fmla="*/ 119529 w 12193149"/>
              <a:gd name="connsiteY212" fmla="*/ 1761047 h 2344739"/>
              <a:gd name="connsiteX213" fmla="*/ 16674 w 12193149"/>
              <a:gd name="connsiteY213" fmla="*/ 1758191 h 2344739"/>
              <a:gd name="connsiteX214" fmla="*/ 1150 w 12193149"/>
              <a:gd name="connsiteY214" fmla="*/ 1752722 h 2344739"/>
              <a:gd name="connsiteX215" fmla="*/ 1148 w 12193149"/>
              <a:gd name="connsiteY215" fmla="*/ 222213 h 2344739"/>
              <a:gd name="connsiteX216" fmla="*/ 1148 w 12193149"/>
              <a:gd name="connsiteY216" fmla="*/ 0 h 2344739"/>
              <a:gd name="connsiteX0" fmla="*/ 1148 w 12193149"/>
              <a:gd name="connsiteY0" fmla="*/ 818782 h 3163521"/>
              <a:gd name="connsiteX1" fmla="*/ 12181789 w 12193149"/>
              <a:gd name="connsiteY1" fmla="*/ 0 h 3163521"/>
              <a:gd name="connsiteX2" fmla="*/ 12193149 w 12193149"/>
              <a:gd name="connsiteY2" fmla="*/ 1398521 h 3163521"/>
              <a:gd name="connsiteX3" fmla="*/ 12185986 w 12193149"/>
              <a:gd name="connsiteY3" fmla="*/ 1402971 h 3163521"/>
              <a:gd name="connsiteX4" fmla="*/ 12156363 w 12193149"/>
              <a:gd name="connsiteY4" fmla="*/ 1416148 h 3163521"/>
              <a:gd name="connsiteX5" fmla="*/ 12139215 w 12193149"/>
              <a:gd name="connsiteY5" fmla="*/ 1441961 h 3163521"/>
              <a:gd name="connsiteX6" fmla="*/ 12126327 w 12193149"/>
              <a:gd name="connsiteY6" fmla="*/ 1443472 h 3163521"/>
              <a:gd name="connsiteX7" fmla="*/ 12124007 w 12193149"/>
              <a:gd name="connsiteY7" fmla="*/ 1443576 h 3163521"/>
              <a:gd name="connsiteX8" fmla="*/ 12116854 w 12193149"/>
              <a:gd name="connsiteY8" fmla="*/ 1447390 h 3163521"/>
              <a:gd name="connsiteX9" fmla="*/ 12099497 w 12193149"/>
              <a:gd name="connsiteY9" fmla="*/ 1446921 h 3163521"/>
              <a:gd name="connsiteX10" fmla="*/ 12087073 w 12193149"/>
              <a:gd name="connsiteY10" fmla="*/ 1455123 h 3163521"/>
              <a:gd name="connsiteX11" fmla="*/ 12031073 w 12193149"/>
              <a:gd name="connsiteY11" fmla="*/ 1498791 h 3163521"/>
              <a:gd name="connsiteX12" fmla="*/ 11995833 w 12193149"/>
              <a:gd name="connsiteY12" fmla="*/ 1522240 h 3163521"/>
              <a:gd name="connsiteX13" fmla="*/ 11979717 w 12193149"/>
              <a:gd name="connsiteY13" fmla="*/ 1526943 h 3163521"/>
              <a:gd name="connsiteX14" fmla="*/ 11959046 w 12193149"/>
              <a:gd name="connsiteY14" fmla="*/ 1536340 h 3163521"/>
              <a:gd name="connsiteX15" fmla="*/ 11920454 w 12193149"/>
              <a:gd name="connsiteY15" fmla="*/ 1549665 h 3163521"/>
              <a:gd name="connsiteX16" fmla="*/ 11903656 w 12193149"/>
              <a:gd name="connsiteY16" fmla="*/ 1561208 h 3163521"/>
              <a:gd name="connsiteX17" fmla="*/ 11895048 w 12193149"/>
              <a:gd name="connsiteY17" fmla="*/ 1563573 h 3163521"/>
              <a:gd name="connsiteX18" fmla="*/ 11891968 w 12193149"/>
              <a:gd name="connsiteY18" fmla="*/ 1574511 h 3163521"/>
              <a:gd name="connsiteX19" fmla="*/ 11870776 w 12193149"/>
              <a:gd name="connsiteY19" fmla="*/ 1596598 h 3163521"/>
              <a:gd name="connsiteX20" fmla="*/ 11813376 w 12193149"/>
              <a:gd name="connsiteY20" fmla="*/ 1616441 h 3163521"/>
              <a:gd name="connsiteX21" fmla="*/ 11590693 w 12193149"/>
              <a:gd name="connsiteY21" fmla="*/ 1782559 h 3163521"/>
              <a:gd name="connsiteX22" fmla="*/ 11506817 w 12193149"/>
              <a:gd name="connsiteY22" fmla="*/ 1852405 h 3163521"/>
              <a:gd name="connsiteX23" fmla="*/ 11280332 w 12193149"/>
              <a:gd name="connsiteY23" fmla="*/ 2042353 h 3163521"/>
              <a:gd name="connsiteX24" fmla="*/ 11228309 w 12193149"/>
              <a:gd name="connsiteY24" fmla="*/ 2095018 h 3163521"/>
              <a:gd name="connsiteX25" fmla="*/ 11218087 w 12193149"/>
              <a:gd name="connsiteY25" fmla="*/ 2094743 h 3163521"/>
              <a:gd name="connsiteX26" fmla="*/ 11217184 w 12193149"/>
              <a:gd name="connsiteY26" fmla="*/ 2093800 h 3163521"/>
              <a:gd name="connsiteX27" fmla="*/ 11188885 w 12193149"/>
              <a:gd name="connsiteY27" fmla="*/ 2111165 h 3163521"/>
              <a:gd name="connsiteX28" fmla="*/ 11184501 w 12193149"/>
              <a:gd name="connsiteY28" fmla="*/ 2111307 h 3163521"/>
              <a:gd name="connsiteX29" fmla="*/ 11166854 w 12193149"/>
              <a:gd name="connsiteY29" fmla="*/ 2125394 h 3163521"/>
              <a:gd name="connsiteX30" fmla="*/ 11157311 w 12193149"/>
              <a:gd name="connsiteY30" fmla="*/ 2131196 h 3163521"/>
              <a:gd name="connsiteX31" fmla="*/ 11155496 w 12193149"/>
              <a:gd name="connsiteY31" fmla="*/ 2135879 h 3163521"/>
              <a:gd name="connsiteX32" fmla="*/ 11140961 w 12193149"/>
              <a:gd name="connsiteY32" fmla="*/ 2142897 h 3163521"/>
              <a:gd name="connsiteX33" fmla="*/ 11138961 w 12193149"/>
              <a:gd name="connsiteY33" fmla="*/ 2142554 h 3163521"/>
              <a:gd name="connsiteX34" fmla="*/ 11128208 w 12193149"/>
              <a:gd name="connsiteY34" fmla="*/ 2152614 h 3163521"/>
              <a:gd name="connsiteX35" fmla="*/ 11120691 w 12193149"/>
              <a:gd name="connsiteY35" fmla="*/ 2166206 h 3163521"/>
              <a:gd name="connsiteX36" fmla="*/ 10894683 w 12193149"/>
              <a:gd name="connsiteY36" fmla="*/ 2292181 h 3163521"/>
              <a:gd name="connsiteX37" fmla="*/ 10773300 w 12193149"/>
              <a:gd name="connsiteY37" fmla="*/ 2341973 h 3163521"/>
              <a:gd name="connsiteX38" fmla="*/ 10627668 w 12193149"/>
              <a:gd name="connsiteY38" fmla="*/ 2378011 h 3163521"/>
              <a:gd name="connsiteX39" fmla="*/ 10581895 w 12193149"/>
              <a:gd name="connsiteY39" fmla="*/ 2387471 h 3163521"/>
              <a:gd name="connsiteX40" fmla="*/ 10547790 w 12193149"/>
              <a:gd name="connsiteY40" fmla="*/ 2417205 h 3163521"/>
              <a:gd name="connsiteX41" fmla="*/ 10529643 w 12193149"/>
              <a:gd name="connsiteY41" fmla="*/ 2415689 h 3163521"/>
              <a:gd name="connsiteX42" fmla="*/ 10526446 w 12193149"/>
              <a:gd name="connsiteY42" fmla="*/ 2415193 h 3163521"/>
              <a:gd name="connsiteX43" fmla="*/ 10515129 w 12193149"/>
              <a:gd name="connsiteY43" fmla="*/ 2418319 h 3163521"/>
              <a:gd name="connsiteX44" fmla="*/ 10491735 w 12193149"/>
              <a:gd name="connsiteY44" fmla="*/ 2412938 h 3163521"/>
              <a:gd name="connsiteX45" fmla="*/ 10471418 w 12193149"/>
              <a:gd name="connsiteY45" fmla="*/ 2420475 h 3163521"/>
              <a:gd name="connsiteX46" fmla="*/ 10377042 w 12193149"/>
              <a:gd name="connsiteY46" fmla="*/ 2463380 h 3163521"/>
              <a:gd name="connsiteX47" fmla="*/ 10319338 w 12193149"/>
              <a:gd name="connsiteY47" fmla="*/ 2485003 h 3163521"/>
              <a:gd name="connsiteX48" fmla="*/ 10295467 w 12193149"/>
              <a:gd name="connsiteY48" fmla="*/ 2486861 h 3163521"/>
              <a:gd name="connsiteX49" fmla="*/ 10263443 w 12193149"/>
              <a:gd name="connsiteY49" fmla="*/ 2493730 h 3163521"/>
              <a:gd name="connsiteX50" fmla="*/ 10205418 w 12193149"/>
              <a:gd name="connsiteY50" fmla="*/ 2500931 h 3163521"/>
              <a:gd name="connsiteX51" fmla="*/ 10177759 w 12193149"/>
              <a:gd name="connsiteY51" fmla="*/ 2511725 h 3163521"/>
              <a:gd name="connsiteX52" fmla="*/ 10165070 w 12193149"/>
              <a:gd name="connsiteY52" fmla="*/ 2512521 h 3163521"/>
              <a:gd name="connsiteX53" fmla="*/ 10156308 w 12193149"/>
              <a:gd name="connsiteY53" fmla="*/ 2526269 h 3163521"/>
              <a:gd name="connsiteX54" fmla="*/ 10118267 w 12193149"/>
              <a:gd name="connsiteY54" fmla="*/ 2549924 h 3163521"/>
              <a:gd name="connsiteX55" fmla="*/ 10083317 w 12193149"/>
              <a:gd name="connsiteY55" fmla="*/ 2562078 h 3163521"/>
              <a:gd name="connsiteX56" fmla="*/ 10040388 w 12193149"/>
              <a:gd name="connsiteY56" fmla="*/ 2560414 h 3163521"/>
              <a:gd name="connsiteX57" fmla="*/ 9961167 w 12193149"/>
              <a:gd name="connsiteY57" fmla="*/ 2575929 h 3163521"/>
              <a:gd name="connsiteX58" fmla="*/ 9848940 w 12193149"/>
              <a:gd name="connsiteY58" fmla="*/ 2582697 h 3163521"/>
              <a:gd name="connsiteX59" fmla="*/ 9729457 w 12193149"/>
              <a:gd name="connsiteY59" fmla="*/ 2602904 h 3163521"/>
              <a:gd name="connsiteX60" fmla="*/ 9613704 w 12193149"/>
              <a:gd name="connsiteY60" fmla="*/ 2631153 h 3163521"/>
              <a:gd name="connsiteX61" fmla="*/ 9338590 w 12193149"/>
              <a:gd name="connsiteY61" fmla="*/ 2688075 h 3163521"/>
              <a:gd name="connsiteX62" fmla="*/ 9232518 w 12193149"/>
              <a:gd name="connsiteY62" fmla="*/ 2711931 h 3163521"/>
              <a:gd name="connsiteX63" fmla="*/ 9156690 w 12193149"/>
              <a:gd name="connsiteY63" fmla="*/ 2722010 h 3163521"/>
              <a:gd name="connsiteX64" fmla="*/ 9054601 w 12193149"/>
              <a:gd name="connsiteY64" fmla="*/ 2729537 h 3163521"/>
              <a:gd name="connsiteX65" fmla="*/ 9006634 w 12193149"/>
              <a:gd name="connsiteY65" fmla="*/ 2732822 h 3163521"/>
              <a:gd name="connsiteX66" fmla="*/ 9006349 w 12193149"/>
              <a:gd name="connsiteY66" fmla="*/ 2732582 h 3163521"/>
              <a:gd name="connsiteX67" fmla="*/ 8997380 w 12193149"/>
              <a:gd name="connsiteY67" fmla="*/ 2733793 h 3163521"/>
              <a:gd name="connsiteX68" fmla="*/ 8991542 w 12193149"/>
              <a:gd name="connsiteY68" fmla="*/ 2735854 h 3163521"/>
              <a:gd name="connsiteX69" fmla="*/ 8975485 w 12193149"/>
              <a:gd name="connsiteY69" fmla="*/ 2739080 h 3163521"/>
              <a:gd name="connsiteX70" fmla="*/ 8969159 w 12193149"/>
              <a:gd name="connsiteY70" fmla="*/ 2738380 h 3163521"/>
              <a:gd name="connsiteX71" fmla="*/ 8964196 w 12193149"/>
              <a:gd name="connsiteY71" fmla="*/ 2736155 h 3163521"/>
              <a:gd name="connsiteX72" fmla="*/ 8930136 w 12193149"/>
              <a:gd name="connsiteY72" fmla="*/ 2732967 h 3163521"/>
              <a:gd name="connsiteX73" fmla="*/ 8753592 w 12193149"/>
              <a:gd name="connsiteY73" fmla="*/ 2752199 h 3163521"/>
              <a:gd name="connsiteX74" fmla="*/ 8708995 w 12193149"/>
              <a:gd name="connsiteY74" fmla="*/ 2754300 h 3163521"/>
              <a:gd name="connsiteX75" fmla="*/ 8597219 w 12193149"/>
              <a:gd name="connsiteY75" fmla="*/ 2762872 h 3163521"/>
              <a:gd name="connsiteX76" fmla="*/ 8526378 w 12193149"/>
              <a:gd name="connsiteY76" fmla="*/ 2748030 h 3163521"/>
              <a:gd name="connsiteX77" fmla="*/ 8512131 w 12193149"/>
              <a:gd name="connsiteY77" fmla="*/ 2753945 h 3163521"/>
              <a:gd name="connsiteX78" fmla="*/ 8507315 w 12193149"/>
              <a:gd name="connsiteY78" fmla="*/ 2756946 h 3163521"/>
              <a:gd name="connsiteX79" fmla="*/ 8499116 w 12193149"/>
              <a:gd name="connsiteY79" fmla="*/ 2759684 h 3163521"/>
              <a:gd name="connsiteX80" fmla="*/ 8498742 w 12193149"/>
              <a:gd name="connsiteY80" fmla="*/ 2759505 h 3163521"/>
              <a:gd name="connsiteX81" fmla="*/ 8491397 w 12193149"/>
              <a:gd name="connsiteY81" fmla="*/ 2762555 h 3163521"/>
              <a:gd name="connsiteX82" fmla="*/ 8368330 w 12193149"/>
              <a:gd name="connsiteY82" fmla="*/ 2776597 h 3163521"/>
              <a:gd name="connsiteX83" fmla="*/ 8354947 w 12193149"/>
              <a:gd name="connsiteY83" fmla="*/ 2776791 h 3163521"/>
              <a:gd name="connsiteX84" fmla="*/ 8321252 w 12193149"/>
              <a:gd name="connsiteY84" fmla="*/ 2793369 h 3163521"/>
              <a:gd name="connsiteX85" fmla="*/ 8315581 w 12193149"/>
              <a:gd name="connsiteY85" fmla="*/ 2793695 h 3163521"/>
              <a:gd name="connsiteX86" fmla="*/ 8296322 w 12193149"/>
              <a:gd name="connsiteY86" fmla="*/ 2807590 h 3163521"/>
              <a:gd name="connsiteX87" fmla="*/ 8285424 w 12193149"/>
              <a:gd name="connsiteY87" fmla="*/ 2813413 h 3163521"/>
              <a:gd name="connsiteX88" fmla="*/ 8284298 w 12193149"/>
              <a:gd name="connsiteY88" fmla="*/ 2817856 h 3163521"/>
              <a:gd name="connsiteX89" fmla="*/ 8267224 w 12193149"/>
              <a:gd name="connsiteY89" fmla="*/ 2825031 h 3163521"/>
              <a:gd name="connsiteX90" fmla="*/ 8264525 w 12193149"/>
              <a:gd name="connsiteY90" fmla="*/ 2824801 h 3163521"/>
              <a:gd name="connsiteX91" fmla="*/ 8253181 w 12193149"/>
              <a:gd name="connsiteY91" fmla="*/ 2834644 h 3163521"/>
              <a:gd name="connsiteX92" fmla="*/ 8246982 w 12193149"/>
              <a:gd name="connsiteY92" fmla="*/ 2847636 h 3163521"/>
              <a:gd name="connsiteX93" fmla="*/ 8091420 w 12193149"/>
              <a:gd name="connsiteY93" fmla="*/ 2893797 h 3163521"/>
              <a:gd name="connsiteX94" fmla="*/ 7906555 w 12193149"/>
              <a:gd name="connsiteY94" fmla="*/ 2935770 h 3163521"/>
              <a:gd name="connsiteX95" fmla="*/ 7719893 w 12193149"/>
              <a:gd name="connsiteY95" fmla="*/ 2961485 h 3163521"/>
              <a:gd name="connsiteX96" fmla="*/ 7615495 w 12193149"/>
              <a:gd name="connsiteY96" fmla="*/ 2958014 h 3163521"/>
              <a:gd name="connsiteX97" fmla="*/ 7528691 w 12193149"/>
              <a:gd name="connsiteY97" fmla="*/ 2963842 h 3163521"/>
              <a:gd name="connsiteX98" fmla="*/ 7520719 w 12193149"/>
              <a:gd name="connsiteY98" fmla="*/ 2966395 h 3163521"/>
              <a:gd name="connsiteX99" fmla="*/ 7508559 w 12193149"/>
              <a:gd name="connsiteY99" fmla="*/ 2967730 h 3163521"/>
              <a:gd name="connsiteX100" fmla="*/ 7508188 w 12193149"/>
              <a:gd name="connsiteY100" fmla="*/ 2967403 h 3163521"/>
              <a:gd name="connsiteX101" fmla="*/ 7496943 w 12193149"/>
              <a:gd name="connsiteY101" fmla="*/ 2969355 h 3163521"/>
              <a:gd name="connsiteX102" fmla="*/ 7219707 w 12193149"/>
              <a:gd name="connsiteY102" fmla="*/ 2975462 h 3163521"/>
              <a:gd name="connsiteX103" fmla="*/ 7202249 w 12193149"/>
              <a:gd name="connsiteY103" fmla="*/ 2980012 h 3163521"/>
              <a:gd name="connsiteX104" fmla="*/ 7198152 w 12193149"/>
              <a:gd name="connsiteY104" fmla="*/ 2985370 h 3163521"/>
              <a:gd name="connsiteX105" fmla="*/ 7171956 w 12193149"/>
              <a:gd name="connsiteY105" fmla="*/ 2990018 h 3163521"/>
              <a:gd name="connsiteX106" fmla="*/ 7098136 w 12193149"/>
              <a:gd name="connsiteY106" fmla="*/ 3002246 h 3163521"/>
              <a:gd name="connsiteX107" fmla="*/ 7019644 w 12193149"/>
              <a:gd name="connsiteY107" fmla="*/ 3001872 h 3163521"/>
              <a:gd name="connsiteX108" fmla="*/ 6905294 w 12193149"/>
              <a:gd name="connsiteY108" fmla="*/ 3031378 h 3163521"/>
              <a:gd name="connsiteX109" fmla="*/ 6709370 w 12193149"/>
              <a:gd name="connsiteY109" fmla="*/ 3059333 h 3163521"/>
              <a:gd name="connsiteX110" fmla="*/ 6550602 w 12193149"/>
              <a:gd name="connsiteY110" fmla="*/ 3088109 h 3163521"/>
              <a:gd name="connsiteX111" fmla="*/ 6318708 w 12193149"/>
              <a:gd name="connsiteY111" fmla="*/ 3134909 h 3163521"/>
              <a:gd name="connsiteX112" fmla="*/ 6169822 w 12193149"/>
              <a:gd name="connsiteY112" fmla="*/ 3136996 h 3163521"/>
              <a:gd name="connsiteX113" fmla="*/ 6074996 w 12193149"/>
              <a:gd name="connsiteY113" fmla="*/ 3157458 h 3163521"/>
              <a:gd name="connsiteX114" fmla="*/ 6069677 w 12193149"/>
              <a:gd name="connsiteY114" fmla="*/ 3155921 h 3163521"/>
              <a:gd name="connsiteX115" fmla="*/ 6049786 w 12193149"/>
              <a:gd name="connsiteY115" fmla="*/ 3156604 h 3163521"/>
              <a:gd name="connsiteX116" fmla="*/ 6042433 w 12193149"/>
              <a:gd name="connsiteY116" fmla="*/ 3148255 h 3163521"/>
              <a:gd name="connsiteX117" fmla="*/ 6011238 w 12193149"/>
              <a:gd name="connsiteY117" fmla="*/ 3143162 h 3163521"/>
              <a:gd name="connsiteX118" fmla="*/ 5958523 w 12193149"/>
              <a:gd name="connsiteY118" fmla="*/ 3146806 h 3163521"/>
              <a:gd name="connsiteX119" fmla="*/ 5760067 w 12193149"/>
              <a:gd name="connsiteY119" fmla="*/ 3162498 h 3163521"/>
              <a:gd name="connsiteX120" fmla="*/ 5628108 w 12193149"/>
              <a:gd name="connsiteY120" fmla="*/ 3163521 h 3163521"/>
              <a:gd name="connsiteX121" fmla="*/ 5472054 w 12193149"/>
              <a:gd name="connsiteY121" fmla="*/ 3149501 h 3163521"/>
              <a:gd name="connsiteX122" fmla="*/ 5433909 w 12193149"/>
              <a:gd name="connsiteY122" fmla="*/ 3138248 h 3163521"/>
              <a:gd name="connsiteX123" fmla="*/ 5382817 w 12193149"/>
              <a:gd name="connsiteY123" fmla="*/ 3120546 h 3163521"/>
              <a:gd name="connsiteX124" fmla="*/ 5262912 w 12193149"/>
              <a:gd name="connsiteY124" fmla="*/ 3100129 h 3163521"/>
              <a:gd name="connsiteX125" fmla="*/ 5224109 w 12193149"/>
              <a:gd name="connsiteY125" fmla="*/ 3089005 h 3163521"/>
              <a:gd name="connsiteX126" fmla="*/ 5175808 w 12193149"/>
              <a:gd name="connsiteY126" fmla="*/ 3086015 h 3163521"/>
              <a:gd name="connsiteX127" fmla="*/ 5157702 w 12193149"/>
              <a:gd name="connsiteY127" fmla="*/ 3078792 h 3163521"/>
              <a:gd name="connsiteX128" fmla="*/ 5143747 w 12193149"/>
              <a:gd name="connsiteY128" fmla="*/ 3075392 h 3163521"/>
              <a:gd name="connsiteX129" fmla="*/ 5140744 w 12193149"/>
              <a:gd name="connsiteY129" fmla="*/ 3073291 h 3163521"/>
              <a:gd name="connsiteX130" fmla="*/ 5122807 w 12193149"/>
              <a:gd name="connsiteY130" fmla="*/ 3062438 h 3163521"/>
              <a:gd name="connsiteX131" fmla="*/ 5066938 w 12193149"/>
              <a:gd name="connsiteY131" fmla="*/ 3069009 h 3163521"/>
              <a:gd name="connsiteX132" fmla="*/ 5012662 w 12193149"/>
              <a:gd name="connsiteY132" fmla="*/ 3052628 h 3163521"/>
              <a:gd name="connsiteX133" fmla="*/ 4841589 w 12193149"/>
              <a:gd name="connsiteY133" fmla="*/ 3028611 h 3163521"/>
              <a:gd name="connsiteX134" fmla="*/ 4763595 w 12193149"/>
              <a:gd name="connsiteY134" fmla="*/ 3000843 h 3163521"/>
              <a:gd name="connsiteX135" fmla="*/ 4724334 w 12193149"/>
              <a:gd name="connsiteY135" fmla="*/ 2991829 h 3163521"/>
              <a:gd name="connsiteX136" fmla="*/ 4722324 w 12193149"/>
              <a:gd name="connsiteY136" fmla="*/ 2991080 h 3163521"/>
              <a:gd name="connsiteX137" fmla="*/ 4723259 w 12193149"/>
              <a:gd name="connsiteY137" fmla="*/ 2990869 h 3163521"/>
              <a:gd name="connsiteX138" fmla="*/ 4718350 w 12193149"/>
              <a:gd name="connsiteY138" fmla="*/ 2989599 h 3163521"/>
              <a:gd name="connsiteX139" fmla="*/ 4722324 w 12193149"/>
              <a:gd name="connsiteY139" fmla="*/ 2991080 h 3163521"/>
              <a:gd name="connsiteX140" fmla="*/ 4716674 w 12193149"/>
              <a:gd name="connsiteY140" fmla="*/ 2992355 h 3163521"/>
              <a:gd name="connsiteX141" fmla="*/ 4516962 w 12193149"/>
              <a:gd name="connsiteY141" fmla="*/ 2982453 h 3163521"/>
              <a:gd name="connsiteX142" fmla="*/ 4429691 w 12193149"/>
              <a:gd name="connsiteY142" fmla="*/ 2971802 h 3163521"/>
              <a:gd name="connsiteX143" fmla="*/ 4364023 w 12193149"/>
              <a:gd name="connsiteY143" fmla="*/ 2970456 h 3163521"/>
              <a:gd name="connsiteX144" fmla="*/ 4318114 w 12193149"/>
              <a:gd name="connsiteY144" fmla="*/ 2977071 h 3163521"/>
              <a:gd name="connsiteX145" fmla="*/ 4316258 w 12193149"/>
              <a:gd name="connsiteY145" fmla="*/ 2975730 h 3163521"/>
              <a:gd name="connsiteX146" fmla="*/ 4296292 w 12193149"/>
              <a:gd name="connsiteY146" fmla="*/ 2973851 h 3163521"/>
              <a:gd name="connsiteX147" fmla="*/ 4291212 w 12193149"/>
              <a:gd name="connsiteY147" fmla="*/ 2976768 h 3163521"/>
              <a:gd name="connsiteX148" fmla="*/ 4277290 w 12193149"/>
              <a:gd name="connsiteY148" fmla="*/ 2976522 h 3163521"/>
              <a:gd name="connsiteX149" fmla="*/ 4249265 w 12193149"/>
              <a:gd name="connsiteY149" fmla="*/ 2978846 h 3163521"/>
              <a:gd name="connsiteX150" fmla="*/ 4203199 w 12193149"/>
              <a:gd name="connsiteY150" fmla="*/ 2976051 h 3163521"/>
              <a:gd name="connsiteX151" fmla="*/ 4202893 w 12193149"/>
              <a:gd name="connsiteY151" fmla="*/ 2974792 h 3163521"/>
              <a:gd name="connsiteX152" fmla="*/ 4192396 w 12193149"/>
              <a:gd name="connsiteY152" fmla="*/ 2969158 h 3163521"/>
              <a:gd name="connsiteX153" fmla="*/ 4143893 w 12193149"/>
              <a:gd name="connsiteY153" fmla="*/ 2953293 h 3163521"/>
              <a:gd name="connsiteX154" fmla="*/ 4084245 w 12193149"/>
              <a:gd name="connsiteY154" fmla="*/ 2926760 h 3163521"/>
              <a:gd name="connsiteX155" fmla="*/ 4075694 w 12193149"/>
              <a:gd name="connsiteY155" fmla="*/ 2925925 h 3163521"/>
              <a:gd name="connsiteX156" fmla="*/ 4075575 w 12193149"/>
              <a:gd name="connsiteY156" fmla="*/ 2925626 h 3163521"/>
              <a:gd name="connsiteX157" fmla="*/ 4066658 w 12193149"/>
              <a:gd name="connsiteY157" fmla="*/ 2924182 h 3163521"/>
              <a:gd name="connsiteX158" fmla="*/ 4060102 w 12193149"/>
              <a:gd name="connsiteY158" fmla="*/ 2924400 h 3163521"/>
              <a:gd name="connsiteX159" fmla="*/ 4043512 w 12193149"/>
              <a:gd name="connsiteY159" fmla="*/ 2922779 h 3163521"/>
              <a:gd name="connsiteX160" fmla="*/ 4038145 w 12193149"/>
              <a:gd name="connsiteY160" fmla="*/ 2920345 h 3163521"/>
              <a:gd name="connsiteX161" fmla="*/ 4036511 w 12193149"/>
              <a:gd name="connsiteY161" fmla="*/ 2916678 h 3163521"/>
              <a:gd name="connsiteX162" fmla="*/ 4034926 w 12193149"/>
              <a:gd name="connsiteY162" fmla="*/ 2916913 h 3163521"/>
              <a:gd name="connsiteX163" fmla="*/ 4005686 w 12193149"/>
              <a:gd name="connsiteY163" fmla="*/ 2904345 h 3163521"/>
              <a:gd name="connsiteX164" fmla="*/ 3937994 w 12193149"/>
              <a:gd name="connsiteY164" fmla="*/ 2886888 h 3163521"/>
              <a:gd name="connsiteX165" fmla="*/ 3898423 w 12193149"/>
              <a:gd name="connsiteY165" fmla="*/ 2881233 h 3163521"/>
              <a:gd name="connsiteX166" fmla="*/ 3790908 w 12193149"/>
              <a:gd name="connsiteY166" fmla="*/ 2860995 h 3163521"/>
              <a:gd name="connsiteX167" fmla="*/ 3683661 w 12193149"/>
              <a:gd name="connsiteY167" fmla="*/ 2837072 h 3163521"/>
              <a:gd name="connsiteX168" fmla="*/ 3611183 w 12193149"/>
              <a:gd name="connsiteY168" fmla="*/ 2804801 h 3163521"/>
              <a:gd name="connsiteX169" fmla="*/ 3605003 w 12193149"/>
              <a:gd name="connsiteY169" fmla="*/ 2806163 h 3163521"/>
              <a:gd name="connsiteX170" fmla="*/ 3595884 w 12193149"/>
              <a:gd name="connsiteY170" fmla="*/ 2806327 h 3163521"/>
              <a:gd name="connsiteX171" fmla="*/ 3595649 w 12193149"/>
              <a:gd name="connsiteY171" fmla="*/ 2806058 h 3163521"/>
              <a:gd name="connsiteX172" fmla="*/ 3587126 w 12193149"/>
              <a:gd name="connsiteY172" fmla="*/ 2806748 h 3163521"/>
              <a:gd name="connsiteX173" fmla="*/ 3537283 w 12193149"/>
              <a:gd name="connsiteY173" fmla="*/ 2797049 h 3163521"/>
              <a:gd name="connsiteX174" fmla="*/ 3474371 w 12193149"/>
              <a:gd name="connsiteY174" fmla="*/ 2793388 h 3163521"/>
              <a:gd name="connsiteX175" fmla="*/ 3401876 w 12193149"/>
              <a:gd name="connsiteY175" fmla="*/ 2781340 h 3163521"/>
              <a:gd name="connsiteX176" fmla="*/ 3365036 w 12193149"/>
              <a:gd name="connsiteY176" fmla="*/ 2798292 h 3163521"/>
              <a:gd name="connsiteX177" fmla="*/ 3345174 w 12193149"/>
              <a:gd name="connsiteY177" fmla="*/ 2799974 h 3163521"/>
              <a:gd name="connsiteX178" fmla="*/ 3342846 w 12193149"/>
              <a:gd name="connsiteY178" fmla="*/ 2798999 h 3163521"/>
              <a:gd name="connsiteX179" fmla="*/ 3263504 w 12193149"/>
              <a:gd name="connsiteY179" fmla="*/ 2804876 h 3163521"/>
              <a:gd name="connsiteX180" fmla="*/ 3143704 w 12193149"/>
              <a:gd name="connsiteY180" fmla="*/ 2812651 h 3163521"/>
              <a:gd name="connsiteX181" fmla="*/ 3031439 w 12193149"/>
              <a:gd name="connsiteY181" fmla="*/ 2815294 h 3163521"/>
              <a:gd name="connsiteX182" fmla="*/ 2782717 w 12193149"/>
              <a:gd name="connsiteY182" fmla="*/ 2837115 h 3163521"/>
              <a:gd name="connsiteX183" fmla="*/ 2647675 w 12193149"/>
              <a:gd name="connsiteY183" fmla="*/ 2847651 h 3163521"/>
              <a:gd name="connsiteX184" fmla="*/ 2569176 w 12193149"/>
              <a:gd name="connsiteY184" fmla="*/ 2821410 h 3163521"/>
              <a:gd name="connsiteX185" fmla="*/ 2444403 w 12193149"/>
              <a:gd name="connsiteY185" fmla="*/ 2835311 h 3163521"/>
              <a:gd name="connsiteX186" fmla="*/ 2316260 w 12193149"/>
              <a:gd name="connsiteY186" fmla="*/ 2843778 h 3163521"/>
              <a:gd name="connsiteX187" fmla="*/ 2209726 w 12193149"/>
              <a:gd name="connsiteY187" fmla="*/ 2838545 h 3163521"/>
              <a:gd name="connsiteX188" fmla="*/ 2095813 w 12193149"/>
              <a:gd name="connsiteY188" fmla="*/ 2821834 h 3163521"/>
              <a:gd name="connsiteX189" fmla="*/ 1998504 w 12193149"/>
              <a:gd name="connsiteY189" fmla="*/ 2813814 h 3163521"/>
              <a:gd name="connsiteX190" fmla="*/ 1929320 w 12193149"/>
              <a:gd name="connsiteY190" fmla="*/ 2835759 h 3163521"/>
              <a:gd name="connsiteX191" fmla="*/ 1922798 w 12193149"/>
              <a:gd name="connsiteY191" fmla="*/ 2830928 h 3163521"/>
              <a:gd name="connsiteX192" fmla="*/ 1874228 w 12193149"/>
              <a:gd name="connsiteY192" fmla="*/ 2832523 h 3163521"/>
              <a:gd name="connsiteX193" fmla="*/ 1787803 w 12193149"/>
              <a:gd name="connsiteY193" fmla="*/ 2860145 h 3163521"/>
              <a:gd name="connsiteX194" fmla="*/ 1739352 w 12193149"/>
              <a:gd name="connsiteY194" fmla="*/ 2855094 h 3163521"/>
              <a:gd name="connsiteX195" fmla="*/ 1676219 w 12193149"/>
              <a:gd name="connsiteY195" fmla="*/ 2838745 h 3163521"/>
              <a:gd name="connsiteX196" fmla="*/ 1609817 w 12193149"/>
              <a:gd name="connsiteY196" fmla="*/ 2831848 h 3163521"/>
              <a:gd name="connsiteX197" fmla="*/ 1497258 w 12193149"/>
              <a:gd name="connsiteY197" fmla="*/ 2806258 h 3163521"/>
              <a:gd name="connsiteX198" fmla="*/ 1151127 w 12193149"/>
              <a:gd name="connsiteY198" fmla="*/ 2756823 h 3163521"/>
              <a:gd name="connsiteX199" fmla="*/ 859417 w 12193149"/>
              <a:gd name="connsiteY199" fmla="*/ 2747390 h 3163521"/>
              <a:gd name="connsiteX200" fmla="*/ 838688 w 12193149"/>
              <a:gd name="connsiteY200" fmla="*/ 2748603 h 3163521"/>
              <a:gd name="connsiteX201" fmla="*/ 817957 w 12193149"/>
              <a:gd name="connsiteY201" fmla="*/ 2746639 h 3163521"/>
              <a:gd name="connsiteX202" fmla="*/ 812654 w 12193149"/>
              <a:gd name="connsiteY202" fmla="*/ 2749533 h 3163521"/>
              <a:gd name="connsiteX203" fmla="*/ 721195 w 12193149"/>
              <a:gd name="connsiteY203" fmla="*/ 2748443 h 3163521"/>
              <a:gd name="connsiteX204" fmla="*/ 720890 w 12193149"/>
              <a:gd name="connsiteY204" fmla="*/ 2747181 h 3163521"/>
              <a:gd name="connsiteX205" fmla="*/ 710023 w 12193149"/>
              <a:gd name="connsiteY205" fmla="*/ 2741504 h 3163521"/>
              <a:gd name="connsiteX206" fmla="*/ 597940 w 12193149"/>
              <a:gd name="connsiteY206" fmla="*/ 2698646 h 3163521"/>
              <a:gd name="connsiteX207" fmla="*/ 579683 w 12193149"/>
              <a:gd name="connsiteY207" fmla="*/ 2695994 h 3163521"/>
              <a:gd name="connsiteX208" fmla="*/ 572865 w 12193149"/>
              <a:gd name="connsiteY208" fmla="*/ 2696183 h 3163521"/>
              <a:gd name="connsiteX209" fmla="*/ 446247 w 12193149"/>
              <a:gd name="connsiteY209" fmla="*/ 2658153 h 3163521"/>
              <a:gd name="connsiteX210" fmla="*/ 405163 w 12193149"/>
              <a:gd name="connsiteY210" fmla="*/ 2652330 h 3163521"/>
              <a:gd name="connsiteX211" fmla="*/ 293583 w 12193149"/>
              <a:gd name="connsiteY211" fmla="*/ 2631634 h 3163521"/>
              <a:gd name="connsiteX212" fmla="*/ 119529 w 12193149"/>
              <a:gd name="connsiteY212" fmla="*/ 2579829 h 3163521"/>
              <a:gd name="connsiteX213" fmla="*/ 16674 w 12193149"/>
              <a:gd name="connsiteY213" fmla="*/ 2576973 h 3163521"/>
              <a:gd name="connsiteX214" fmla="*/ 1150 w 12193149"/>
              <a:gd name="connsiteY214" fmla="*/ 2571504 h 3163521"/>
              <a:gd name="connsiteX215" fmla="*/ 1148 w 12193149"/>
              <a:gd name="connsiteY215" fmla="*/ 1040995 h 3163521"/>
              <a:gd name="connsiteX216" fmla="*/ 1148 w 12193149"/>
              <a:gd name="connsiteY216" fmla="*/ 818782 h 3163521"/>
              <a:gd name="connsiteX0" fmla="*/ 1148 w 12193149"/>
              <a:gd name="connsiteY0" fmla="*/ 0 h 3171710"/>
              <a:gd name="connsiteX1" fmla="*/ 12181789 w 12193149"/>
              <a:gd name="connsiteY1" fmla="*/ 8189 h 3171710"/>
              <a:gd name="connsiteX2" fmla="*/ 12193149 w 12193149"/>
              <a:gd name="connsiteY2" fmla="*/ 1406710 h 3171710"/>
              <a:gd name="connsiteX3" fmla="*/ 12185986 w 12193149"/>
              <a:gd name="connsiteY3" fmla="*/ 1411160 h 3171710"/>
              <a:gd name="connsiteX4" fmla="*/ 12156363 w 12193149"/>
              <a:gd name="connsiteY4" fmla="*/ 1424337 h 3171710"/>
              <a:gd name="connsiteX5" fmla="*/ 12139215 w 12193149"/>
              <a:gd name="connsiteY5" fmla="*/ 1450150 h 3171710"/>
              <a:gd name="connsiteX6" fmla="*/ 12126327 w 12193149"/>
              <a:gd name="connsiteY6" fmla="*/ 1451661 h 3171710"/>
              <a:gd name="connsiteX7" fmla="*/ 12124007 w 12193149"/>
              <a:gd name="connsiteY7" fmla="*/ 1451765 h 3171710"/>
              <a:gd name="connsiteX8" fmla="*/ 12116854 w 12193149"/>
              <a:gd name="connsiteY8" fmla="*/ 1455579 h 3171710"/>
              <a:gd name="connsiteX9" fmla="*/ 12099497 w 12193149"/>
              <a:gd name="connsiteY9" fmla="*/ 1455110 h 3171710"/>
              <a:gd name="connsiteX10" fmla="*/ 12087073 w 12193149"/>
              <a:gd name="connsiteY10" fmla="*/ 1463312 h 3171710"/>
              <a:gd name="connsiteX11" fmla="*/ 12031073 w 12193149"/>
              <a:gd name="connsiteY11" fmla="*/ 1506980 h 3171710"/>
              <a:gd name="connsiteX12" fmla="*/ 11995833 w 12193149"/>
              <a:gd name="connsiteY12" fmla="*/ 1530429 h 3171710"/>
              <a:gd name="connsiteX13" fmla="*/ 11979717 w 12193149"/>
              <a:gd name="connsiteY13" fmla="*/ 1535132 h 3171710"/>
              <a:gd name="connsiteX14" fmla="*/ 11959046 w 12193149"/>
              <a:gd name="connsiteY14" fmla="*/ 1544529 h 3171710"/>
              <a:gd name="connsiteX15" fmla="*/ 11920454 w 12193149"/>
              <a:gd name="connsiteY15" fmla="*/ 1557854 h 3171710"/>
              <a:gd name="connsiteX16" fmla="*/ 11903656 w 12193149"/>
              <a:gd name="connsiteY16" fmla="*/ 1569397 h 3171710"/>
              <a:gd name="connsiteX17" fmla="*/ 11895048 w 12193149"/>
              <a:gd name="connsiteY17" fmla="*/ 1571762 h 3171710"/>
              <a:gd name="connsiteX18" fmla="*/ 11891968 w 12193149"/>
              <a:gd name="connsiteY18" fmla="*/ 1582700 h 3171710"/>
              <a:gd name="connsiteX19" fmla="*/ 11870776 w 12193149"/>
              <a:gd name="connsiteY19" fmla="*/ 1604787 h 3171710"/>
              <a:gd name="connsiteX20" fmla="*/ 11813376 w 12193149"/>
              <a:gd name="connsiteY20" fmla="*/ 1624630 h 3171710"/>
              <a:gd name="connsiteX21" fmla="*/ 11590693 w 12193149"/>
              <a:gd name="connsiteY21" fmla="*/ 1790748 h 3171710"/>
              <a:gd name="connsiteX22" fmla="*/ 11506817 w 12193149"/>
              <a:gd name="connsiteY22" fmla="*/ 1860594 h 3171710"/>
              <a:gd name="connsiteX23" fmla="*/ 11280332 w 12193149"/>
              <a:gd name="connsiteY23" fmla="*/ 2050542 h 3171710"/>
              <a:gd name="connsiteX24" fmla="*/ 11228309 w 12193149"/>
              <a:gd name="connsiteY24" fmla="*/ 2103207 h 3171710"/>
              <a:gd name="connsiteX25" fmla="*/ 11218087 w 12193149"/>
              <a:gd name="connsiteY25" fmla="*/ 2102932 h 3171710"/>
              <a:gd name="connsiteX26" fmla="*/ 11217184 w 12193149"/>
              <a:gd name="connsiteY26" fmla="*/ 2101989 h 3171710"/>
              <a:gd name="connsiteX27" fmla="*/ 11188885 w 12193149"/>
              <a:gd name="connsiteY27" fmla="*/ 2119354 h 3171710"/>
              <a:gd name="connsiteX28" fmla="*/ 11184501 w 12193149"/>
              <a:gd name="connsiteY28" fmla="*/ 2119496 h 3171710"/>
              <a:gd name="connsiteX29" fmla="*/ 11166854 w 12193149"/>
              <a:gd name="connsiteY29" fmla="*/ 2133583 h 3171710"/>
              <a:gd name="connsiteX30" fmla="*/ 11157311 w 12193149"/>
              <a:gd name="connsiteY30" fmla="*/ 2139385 h 3171710"/>
              <a:gd name="connsiteX31" fmla="*/ 11155496 w 12193149"/>
              <a:gd name="connsiteY31" fmla="*/ 2144068 h 3171710"/>
              <a:gd name="connsiteX32" fmla="*/ 11140961 w 12193149"/>
              <a:gd name="connsiteY32" fmla="*/ 2151086 h 3171710"/>
              <a:gd name="connsiteX33" fmla="*/ 11138961 w 12193149"/>
              <a:gd name="connsiteY33" fmla="*/ 2150743 h 3171710"/>
              <a:gd name="connsiteX34" fmla="*/ 11128208 w 12193149"/>
              <a:gd name="connsiteY34" fmla="*/ 2160803 h 3171710"/>
              <a:gd name="connsiteX35" fmla="*/ 11120691 w 12193149"/>
              <a:gd name="connsiteY35" fmla="*/ 2174395 h 3171710"/>
              <a:gd name="connsiteX36" fmla="*/ 10894683 w 12193149"/>
              <a:gd name="connsiteY36" fmla="*/ 2300370 h 3171710"/>
              <a:gd name="connsiteX37" fmla="*/ 10773300 w 12193149"/>
              <a:gd name="connsiteY37" fmla="*/ 2350162 h 3171710"/>
              <a:gd name="connsiteX38" fmla="*/ 10627668 w 12193149"/>
              <a:gd name="connsiteY38" fmla="*/ 2386200 h 3171710"/>
              <a:gd name="connsiteX39" fmla="*/ 10581895 w 12193149"/>
              <a:gd name="connsiteY39" fmla="*/ 2395660 h 3171710"/>
              <a:gd name="connsiteX40" fmla="*/ 10547790 w 12193149"/>
              <a:gd name="connsiteY40" fmla="*/ 2425394 h 3171710"/>
              <a:gd name="connsiteX41" fmla="*/ 10529643 w 12193149"/>
              <a:gd name="connsiteY41" fmla="*/ 2423878 h 3171710"/>
              <a:gd name="connsiteX42" fmla="*/ 10526446 w 12193149"/>
              <a:gd name="connsiteY42" fmla="*/ 2423382 h 3171710"/>
              <a:gd name="connsiteX43" fmla="*/ 10515129 w 12193149"/>
              <a:gd name="connsiteY43" fmla="*/ 2426508 h 3171710"/>
              <a:gd name="connsiteX44" fmla="*/ 10491735 w 12193149"/>
              <a:gd name="connsiteY44" fmla="*/ 2421127 h 3171710"/>
              <a:gd name="connsiteX45" fmla="*/ 10471418 w 12193149"/>
              <a:gd name="connsiteY45" fmla="*/ 2428664 h 3171710"/>
              <a:gd name="connsiteX46" fmla="*/ 10377042 w 12193149"/>
              <a:gd name="connsiteY46" fmla="*/ 2471569 h 3171710"/>
              <a:gd name="connsiteX47" fmla="*/ 10319338 w 12193149"/>
              <a:gd name="connsiteY47" fmla="*/ 2493192 h 3171710"/>
              <a:gd name="connsiteX48" fmla="*/ 10295467 w 12193149"/>
              <a:gd name="connsiteY48" fmla="*/ 2495050 h 3171710"/>
              <a:gd name="connsiteX49" fmla="*/ 10263443 w 12193149"/>
              <a:gd name="connsiteY49" fmla="*/ 2501919 h 3171710"/>
              <a:gd name="connsiteX50" fmla="*/ 10205418 w 12193149"/>
              <a:gd name="connsiteY50" fmla="*/ 2509120 h 3171710"/>
              <a:gd name="connsiteX51" fmla="*/ 10177759 w 12193149"/>
              <a:gd name="connsiteY51" fmla="*/ 2519914 h 3171710"/>
              <a:gd name="connsiteX52" fmla="*/ 10165070 w 12193149"/>
              <a:gd name="connsiteY52" fmla="*/ 2520710 h 3171710"/>
              <a:gd name="connsiteX53" fmla="*/ 10156308 w 12193149"/>
              <a:gd name="connsiteY53" fmla="*/ 2534458 h 3171710"/>
              <a:gd name="connsiteX54" fmla="*/ 10118267 w 12193149"/>
              <a:gd name="connsiteY54" fmla="*/ 2558113 h 3171710"/>
              <a:gd name="connsiteX55" fmla="*/ 10083317 w 12193149"/>
              <a:gd name="connsiteY55" fmla="*/ 2570267 h 3171710"/>
              <a:gd name="connsiteX56" fmla="*/ 10040388 w 12193149"/>
              <a:gd name="connsiteY56" fmla="*/ 2568603 h 3171710"/>
              <a:gd name="connsiteX57" fmla="*/ 9961167 w 12193149"/>
              <a:gd name="connsiteY57" fmla="*/ 2584118 h 3171710"/>
              <a:gd name="connsiteX58" fmla="*/ 9848940 w 12193149"/>
              <a:gd name="connsiteY58" fmla="*/ 2590886 h 3171710"/>
              <a:gd name="connsiteX59" fmla="*/ 9729457 w 12193149"/>
              <a:gd name="connsiteY59" fmla="*/ 2611093 h 3171710"/>
              <a:gd name="connsiteX60" fmla="*/ 9613704 w 12193149"/>
              <a:gd name="connsiteY60" fmla="*/ 2639342 h 3171710"/>
              <a:gd name="connsiteX61" fmla="*/ 9338590 w 12193149"/>
              <a:gd name="connsiteY61" fmla="*/ 2696264 h 3171710"/>
              <a:gd name="connsiteX62" fmla="*/ 9232518 w 12193149"/>
              <a:gd name="connsiteY62" fmla="*/ 2720120 h 3171710"/>
              <a:gd name="connsiteX63" fmla="*/ 9156690 w 12193149"/>
              <a:gd name="connsiteY63" fmla="*/ 2730199 h 3171710"/>
              <a:gd name="connsiteX64" fmla="*/ 9054601 w 12193149"/>
              <a:gd name="connsiteY64" fmla="*/ 2737726 h 3171710"/>
              <a:gd name="connsiteX65" fmla="*/ 9006634 w 12193149"/>
              <a:gd name="connsiteY65" fmla="*/ 2741011 h 3171710"/>
              <a:gd name="connsiteX66" fmla="*/ 9006349 w 12193149"/>
              <a:gd name="connsiteY66" fmla="*/ 2740771 h 3171710"/>
              <a:gd name="connsiteX67" fmla="*/ 8997380 w 12193149"/>
              <a:gd name="connsiteY67" fmla="*/ 2741982 h 3171710"/>
              <a:gd name="connsiteX68" fmla="*/ 8991542 w 12193149"/>
              <a:gd name="connsiteY68" fmla="*/ 2744043 h 3171710"/>
              <a:gd name="connsiteX69" fmla="*/ 8975485 w 12193149"/>
              <a:gd name="connsiteY69" fmla="*/ 2747269 h 3171710"/>
              <a:gd name="connsiteX70" fmla="*/ 8969159 w 12193149"/>
              <a:gd name="connsiteY70" fmla="*/ 2746569 h 3171710"/>
              <a:gd name="connsiteX71" fmla="*/ 8964196 w 12193149"/>
              <a:gd name="connsiteY71" fmla="*/ 2744344 h 3171710"/>
              <a:gd name="connsiteX72" fmla="*/ 8930136 w 12193149"/>
              <a:gd name="connsiteY72" fmla="*/ 2741156 h 3171710"/>
              <a:gd name="connsiteX73" fmla="*/ 8753592 w 12193149"/>
              <a:gd name="connsiteY73" fmla="*/ 2760388 h 3171710"/>
              <a:gd name="connsiteX74" fmla="*/ 8708995 w 12193149"/>
              <a:gd name="connsiteY74" fmla="*/ 2762489 h 3171710"/>
              <a:gd name="connsiteX75" fmla="*/ 8597219 w 12193149"/>
              <a:gd name="connsiteY75" fmla="*/ 2771061 h 3171710"/>
              <a:gd name="connsiteX76" fmla="*/ 8526378 w 12193149"/>
              <a:gd name="connsiteY76" fmla="*/ 2756219 h 3171710"/>
              <a:gd name="connsiteX77" fmla="*/ 8512131 w 12193149"/>
              <a:gd name="connsiteY77" fmla="*/ 2762134 h 3171710"/>
              <a:gd name="connsiteX78" fmla="*/ 8507315 w 12193149"/>
              <a:gd name="connsiteY78" fmla="*/ 2765135 h 3171710"/>
              <a:gd name="connsiteX79" fmla="*/ 8499116 w 12193149"/>
              <a:gd name="connsiteY79" fmla="*/ 2767873 h 3171710"/>
              <a:gd name="connsiteX80" fmla="*/ 8498742 w 12193149"/>
              <a:gd name="connsiteY80" fmla="*/ 2767694 h 3171710"/>
              <a:gd name="connsiteX81" fmla="*/ 8491397 w 12193149"/>
              <a:gd name="connsiteY81" fmla="*/ 2770744 h 3171710"/>
              <a:gd name="connsiteX82" fmla="*/ 8368330 w 12193149"/>
              <a:gd name="connsiteY82" fmla="*/ 2784786 h 3171710"/>
              <a:gd name="connsiteX83" fmla="*/ 8354947 w 12193149"/>
              <a:gd name="connsiteY83" fmla="*/ 2784980 h 3171710"/>
              <a:gd name="connsiteX84" fmla="*/ 8321252 w 12193149"/>
              <a:gd name="connsiteY84" fmla="*/ 2801558 h 3171710"/>
              <a:gd name="connsiteX85" fmla="*/ 8315581 w 12193149"/>
              <a:gd name="connsiteY85" fmla="*/ 2801884 h 3171710"/>
              <a:gd name="connsiteX86" fmla="*/ 8296322 w 12193149"/>
              <a:gd name="connsiteY86" fmla="*/ 2815779 h 3171710"/>
              <a:gd name="connsiteX87" fmla="*/ 8285424 w 12193149"/>
              <a:gd name="connsiteY87" fmla="*/ 2821602 h 3171710"/>
              <a:gd name="connsiteX88" fmla="*/ 8284298 w 12193149"/>
              <a:gd name="connsiteY88" fmla="*/ 2826045 h 3171710"/>
              <a:gd name="connsiteX89" fmla="*/ 8267224 w 12193149"/>
              <a:gd name="connsiteY89" fmla="*/ 2833220 h 3171710"/>
              <a:gd name="connsiteX90" fmla="*/ 8264525 w 12193149"/>
              <a:gd name="connsiteY90" fmla="*/ 2832990 h 3171710"/>
              <a:gd name="connsiteX91" fmla="*/ 8253181 w 12193149"/>
              <a:gd name="connsiteY91" fmla="*/ 2842833 h 3171710"/>
              <a:gd name="connsiteX92" fmla="*/ 8246982 w 12193149"/>
              <a:gd name="connsiteY92" fmla="*/ 2855825 h 3171710"/>
              <a:gd name="connsiteX93" fmla="*/ 8091420 w 12193149"/>
              <a:gd name="connsiteY93" fmla="*/ 2901986 h 3171710"/>
              <a:gd name="connsiteX94" fmla="*/ 7906555 w 12193149"/>
              <a:gd name="connsiteY94" fmla="*/ 2943959 h 3171710"/>
              <a:gd name="connsiteX95" fmla="*/ 7719893 w 12193149"/>
              <a:gd name="connsiteY95" fmla="*/ 2969674 h 3171710"/>
              <a:gd name="connsiteX96" fmla="*/ 7615495 w 12193149"/>
              <a:gd name="connsiteY96" fmla="*/ 2966203 h 3171710"/>
              <a:gd name="connsiteX97" fmla="*/ 7528691 w 12193149"/>
              <a:gd name="connsiteY97" fmla="*/ 2972031 h 3171710"/>
              <a:gd name="connsiteX98" fmla="*/ 7520719 w 12193149"/>
              <a:gd name="connsiteY98" fmla="*/ 2974584 h 3171710"/>
              <a:gd name="connsiteX99" fmla="*/ 7508559 w 12193149"/>
              <a:gd name="connsiteY99" fmla="*/ 2975919 h 3171710"/>
              <a:gd name="connsiteX100" fmla="*/ 7508188 w 12193149"/>
              <a:gd name="connsiteY100" fmla="*/ 2975592 h 3171710"/>
              <a:gd name="connsiteX101" fmla="*/ 7496943 w 12193149"/>
              <a:gd name="connsiteY101" fmla="*/ 2977544 h 3171710"/>
              <a:gd name="connsiteX102" fmla="*/ 7219707 w 12193149"/>
              <a:gd name="connsiteY102" fmla="*/ 2983651 h 3171710"/>
              <a:gd name="connsiteX103" fmla="*/ 7202249 w 12193149"/>
              <a:gd name="connsiteY103" fmla="*/ 2988201 h 3171710"/>
              <a:gd name="connsiteX104" fmla="*/ 7198152 w 12193149"/>
              <a:gd name="connsiteY104" fmla="*/ 2993559 h 3171710"/>
              <a:gd name="connsiteX105" fmla="*/ 7171956 w 12193149"/>
              <a:gd name="connsiteY105" fmla="*/ 2998207 h 3171710"/>
              <a:gd name="connsiteX106" fmla="*/ 7098136 w 12193149"/>
              <a:gd name="connsiteY106" fmla="*/ 3010435 h 3171710"/>
              <a:gd name="connsiteX107" fmla="*/ 7019644 w 12193149"/>
              <a:gd name="connsiteY107" fmla="*/ 3010061 h 3171710"/>
              <a:gd name="connsiteX108" fmla="*/ 6905294 w 12193149"/>
              <a:gd name="connsiteY108" fmla="*/ 3039567 h 3171710"/>
              <a:gd name="connsiteX109" fmla="*/ 6709370 w 12193149"/>
              <a:gd name="connsiteY109" fmla="*/ 3067522 h 3171710"/>
              <a:gd name="connsiteX110" fmla="*/ 6550602 w 12193149"/>
              <a:gd name="connsiteY110" fmla="*/ 3096298 h 3171710"/>
              <a:gd name="connsiteX111" fmla="*/ 6318708 w 12193149"/>
              <a:gd name="connsiteY111" fmla="*/ 3143098 h 3171710"/>
              <a:gd name="connsiteX112" fmla="*/ 6169822 w 12193149"/>
              <a:gd name="connsiteY112" fmla="*/ 3145185 h 3171710"/>
              <a:gd name="connsiteX113" fmla="*/ 6074996 w 12193149"/>
              <a:gd name="connsiteY113" fmla="*/ 3165647 h 3171710"/>
              <a:gd name="connsiteX114" fmla="*/ 6069677 w 12193149"/>
              <a:gd name="connsiteY114" fmla="*/ 3164110 h 3171710"/>
              <a:gd name="connsiteX115" fmla="*/ 6049786 w 12193149"/>
              <a:gd name="connsiteY115" fmla="*/ 3164793 h 3171710"/>
              <a:gd name="connsiteX116" fmla="*/ 6042433 w 12193149"/>
              <a:gd name="connsiteY116" fmla="*/ 3156444 h 3171710"/>
              <a:gd name="connsiteX117" fmla="*/ 6011238 w 12193149"/>
              <a:gd name="connsiteY117" fmla="*/ 3151351 h 3171710"/>
              <a:gd name="connsiteX118" fmla="*/ 5958523 w 12193149"/>
              <a:gd name="connsiteY118" fmla="*/ 3154995 h 3171710"/>
              <a:gd name="connsiteX119" fmla="*/ 5760067 w 12193149"/>
              <a:gd name="connsiteY119" fmla="*/ 3170687 h 3171710"/>
              <a:gd name="connsiteX120" fmla="*/ 5628108 w 12193149"/>
              <a:gd name="connsiteY120" fmla="*/ 3171710 h 3171710"/>
              <a:gd name="connsiteX121" fmla="*/ 5472054 w 12193149"/>
              <a:gd name="connsiteY121" fmla="*/ 3157690 h 3171710"/>
              <a:gd name="connsiteX122" fmla="*/ 5433909 w 12193149"/>
              <a:gd name="connsiteY122" fmla="*/ 3146437 h 3171710"/>
              <a:gd name="connsiteX123" fmla="*/ 5382817 w 12193149"/>
              <a:gd name="connsiteY123" fmla="*/ 3128735 h 3171710"/>
              <a:gd name="connsiteX124" fmla="*/ 5262912 w 12193149"/>
              <a:gd name="connsiteY124" fmla="*/ 3108318 h 3171710"/>
              <a:gd name="connsiteX125" fmla="*/ 5224109 w 12193149"/>
              <a:gd name="connsiteY125" fmla="*/ 3097194 h 3171710"/>
              <a:gd name="connsiteX126" fmla="*/ 5175808 w 12193149"/>
              <a:gd name="connsiteY126" fmla="*/ 3094204 h 3171710"/>
              <a:gd name="connsiteX127" fmla="*/ 5157702 w 12193149"/>
              <a:gd name="connsiteY127" fmla="*/ 3086981 h 3171710"/>
              <a:gd name="connsiteX128" fmla="*/ 5143747 w 12193149"/>
              <a:gd name="connsiteY128" fmla="*/ 3083581 h 3171710"/>
              <a:gd name="connsiteX129" fmla="*/ 5140744 w 12193149"/>
              <a:gd name="connsiteY129" fmla="*/ 3081480 h 3171710"/>
              <a:gd name="connsiteX130" fmla="*/ 5122807 w 12193149"/>
              <a:gd name="connsiteY130" fmla="*/ 3070627 h 3171710"/>
              <a:gd name="connsiteX131" fmla="*/ 5066938 w 12193149"/>
              <a:gd name="connsiteY131" fmla="*/ 3077198 h 3171710"/>
              <a:gd name="connsiteX132" fmla="*/ 5012662 w 12193149"/>
              <a:gd name="connsiteY132" fmla="*/ 3060817 h 3171710"/>
              <a:gd name="connsiteX133" fmla="*/ 4841589 w 12193149"/>
              <a:gd name="connsiteY133" fmla="*/ 3036800 h 3171710"/>
              <a:gd name="connsiteX134" fmla="*/ 4763595 w 12193149"/>
              <a:gd name="connsiteY134" fmla="*/ 3009032 h 3171710"/>
              <a:gd name="connsiteX135" fmla="*/ 4724334 w 12193149"/>
              <a:gd name="connsiteY135" fmla="*/ 3000018 h 3171710"/>
              <a:gd name="connsiteX136" fmla="*/ 4722324 w 12193149"/>
              <a:gd name="connsiteY136" fmla="*/ 2999269 h 3171710"/>
              <a:gd name="connsiteX137" fmla="*/ 4723259 w 12193149"/>
              <a:gd name="connsiteY137" fmla="*/ 2999058 h 3171710"/>
              <a:gd name="connsiteX138" fmla="*/ 4718350 w 12193149"/>
              <a:gd name="connsiteY138" fmla="*/ 2997788 h 3171710"/>
              <a:gd name="connsiteX139" fmla="*/ 4722324 w 12193149"/>
              <a:gd name="connsiteY139" fmla="*/ 2999269 h 3171710"/>
              <a:gd name="connsiteX140" fmla="*/ 4716674 w 12193149"/>
              <a:gd name="connsiteY140" fmla="*/ 3000544 h 3171710"/>
              <a:gd name="connsiteX141" fmla="*/ 4516962 w 12193149"/>
              <a:gd name="connsiteY141" fmla="*/ 2990642 h 3171710"/>
              <a:gd name="connsiteX142" fmla="*/ 4429691 w 12193149"/>
              <a:gd name="connsiteY142" fmla="*/ 2979991 h 3171710"/>
              <a:gd name="connsiteX143" fmla="*/ 4364023 w 12193149"/>
              <a:gd name="connsiteY143" fmla="*/ 2978645 h 3171710"/>
              <a:gd name="connsiteX144" fmla="*/ 4318114 w 12193149"/>
              <a:gd name="connsiteY144" fmla="*/ 2985260 h 3171710"/>
              <a:gd name="connsiteX145" fmla="*/ 4316258 w 12193149"/>
              <a:gd name="connsiteY145" fmla="*/ 2983919 h 3171710"/>
              <a:gd name="connsiteX146" fmla="*/ 4296292 w 12193149"/>
              <a:gd name="connsiteY146" fmla="*/ 2982040 h 3171710"/>
              <a:gd name="connsiteX147" fmla="*/ 4291212 w 12193149"/>
              <a:gd name="connsiteY147" fmla="*/ 2984957 h 3171710"/>
              <a:gd name="connsiteX148" fmla="*/ 4277290 w 12193149"/>
              <a:gd name="connsiteY148" fmla="*/ 2984711 h 3171710"/>
              <a:gd name="connsiteX149" fmla="*/ 4249265 w 12193149"/>
              <a:gd name="connsiteY149" fmla="*/ 2987035 h 3171710"/>
              <a:gd name="connsiteX150" fmla="*/ 4203199 w 12193149"/>
              <a:gd name="connsiteY150" fmla="*/ 2984240 h 3171710"/>
              <a:gd name="connsiteX151" fmla="*/ 4202893 w 12193149"/>
              <a:gd name="connsiteY151" fmla="*/ 2982981 h 3171710"/>
              <a:gd name="connsiteX152" fmla="*/ 4192396 w 12193149"/>
              <a:gd name="connsiteY152" fmla="*/ 2977347 h 3171710"/>
              <a:gd name="connsiteX153" fmla="*/ 4143893 w 12193149"/>
              <a:gd name="connsiteY153" fmla="*/ 2961482 h 3171710"/>
              <a:gd name="connsiteX154" fmla="*/ 4084245 w 12193149"/>
              <a:gd name="connsiteY154" fmla="*/ 2934949 h 3171710"/>
              <a:gd name="connsiteX155" fmla="*/ 4075694 w 12193149"/>
              <a:gd name="connsiteY155" fmla="*/ 2934114 h 3171710"/>
              <a:gd name="connsiteX156" fmla="*/ 4075575 w 12193149"/>
              <a:gd name="connsiteY156" fmla="*/ 2933815 h 3171710"/>
              <a:gd name="connsiteX157" fmla="*/ 4066658 w 12193149"/>
              <a:gd name="connsiteY157" fmla="*/ 2932371 h 3171710"/>
              <a:gd name="connsiteX158" fmla="*/ 4060102 w 12193149"/>
              <a:gd name="connsiteY158" fmla="*/ 2932589 h 3171710"/>
              <a:gd name="connsiteX159" fmla="*/ 4043512 w 12193149"/>
              <a:gd name="connsiteY159" fmla="*/ 2930968 h 3171710"/>
              <a:gd name="connsiteX160" fmla="*/ 4038145 w 12193149"/>
              <a:gd name="connsiteY160" fmla="*/ 2928534 h 3171710"/>
              <a:gd name="connsiteX161" fmla="*/ 4036511 w 12193149"/>
              <a:gd name="connsiteY161" fmla="*/ 2924867 h 3171710"/>
              <a:gd name="connsiteX162" fmla="*/ 4034926 w 12193149"/>
              <a:gd name="connsiteY162" fmla="*/ 2925102 h 3171710"/>
              <a:gd name="connsiteX163" fmla="*/ 4005686 w 12193149"/>
              <a:gd name="connsiteY163" fmla="*/ 2912534 h 3171710"/>
              <a:gd name="connsiteX164" fmla="*/ 3937994 w 12193149"/>
              <a:gd name="connsiteY164" fmla="*/ 2895077 h 3171710"/>
              <a:gd name="connsiteX165" fmla="*/ 3898423 w 12193149"/>
              <a:gd name="connsiteY165" fmla="*/ 2889422 h 3171710"/>
              <a:gd name="connsiteX166" fmla="*/ 3790908 w 12193149"/>
              <a:gd name="connsiteY166" fmla="*/ 2869184 h 3171710"/>
              <a:gd name="connsiteX167" fmla="*/ 3683661 w 12193149"/>
              <a:gd name="connsiteY167" fmla="*/ 2845261 h 3171710"/>
              <a:gd name="connsiteX168" fmla="*/ 3611183 w 12193149"/>
              <a:gd name="connsiteY168" fmla="*/ 2812990 h 3171710"/>
              <a:gd name="connsiteX169" fmla="*/ 3605003 w 12193149"/>
              <a:gd name="connsiteY169" fmla="*/ 2814352 h 3171710"/>
              <a:gd name="connsiteX170" fmla="*/ 3595884 w 12193149"/>
              <a:gd name="connsiteY170" fmla="*/ 2814516 h 3171710"/>
              <a:gd name="connsiteX171" fmla="*/ 3595649 w 12193149"/>
              <a:gd name="connsiteY171" fmla="*/ 2814247 h 3171710"/>
              <a:gd name="connsiteX172" fmla="*/ 3587126 w 12193149"/>
              <a:gd name="connsiteY172" fmla="*/ 2814937 h 3171710"/>
              <a:gd name="connsiteX173" fmla="*/ 3537283 w 12193149"/>
              <a:gd name="connsiteY173" fmla="*/ 2805238 h 3171710"/>
              <a:gd name="connsiteX174" fmla="*/ 3474371 w 12193149"/>
              <a:gd name="connsiteY174" fmla="*/ 2801577 h 3171710"/>
              <a:gd name="connsiteX175" fmla="*/ 3401876 w 12193149"/>
              <a:gd name="connsiteY175" fmla="*/ 2789529 h 3171710"/>
              <a:gd name="connsiteX176" fmla="*/ 3365036 w 12193149"/>
              <a:gd name="connsiteY176" fmla="*/ 2806481 h 3171710"/>
              <a:gd name="connsiteX177" fmla="*/ 3345174 w 12193149"/>
              <a:gd name="connsiteY177" fmla="*/ 2808163 h 3171710"/>
              <a:gd name="connsiteX178" fmla="*/ 3342846 w 12193149"/>
              <a:gd name="connsiteY178" fmla="*/ 2807188 h 3171710"/>
              <a:gd name="connsiteX179" fmla="*/ 3263504 w 12193149"/>
              <a:gd name="connsiteY179" fmla="*/ 2813065 h 3171710"/>
              <a:gd name="connsiteX180" fmla="*/ 3143704 w 12193149"/>
              <a:gd name="connsiteY180" fmla="*/ 2820840 h 3171710"/>
              <a:gd name="connsiteX181" fmla="*/ 3031439 w 12193149"/>
              <a:gd name="connsiteY181" fmla="*/ 2823483 h 3171710"/>
              <a:gd name="connsiteX182" fmla="*/ 2782717 w 12193149"/>
              <a:gd name="connsiteY182" fmla="*/ 2845304 h 3171710"/>
              <a:gd name="connsiteX183" fmla="*/ 2647675 w 12193149"/>
              <a:gd name="connsiteY183" fmla="*/ 2855840 h 3171710"/>
              <a:gd name="connsiteX184" fmla="*/ 2569176 w 12193149"/>
              <a:gd name="connsiteY184" fmla="*/ 2829599 h 3171710"/>
              <a:gd name="connsiteX185" fmla="*/ 2444403 w 12193149"/>
              <a:gd name="connsiteY185" fmla="*/ 2843500 h 3171710"/>
              <a:gd name="connsiteX186" fmla="*/ 2316260 w 12193149"/>
              <a:gd name="connsiteY186" fmla="*/ 2851967 h 3171710"/>
              <a:gd name="connsiteX187" fmla="*/ 2209726 w 12193149"/>
              <a:gd name="connsiteY187" fmla="*/ 2846734 h 3171710"/>
              <a:gd name="connsiteX188" fmla="*/ 2095813 w 12193149"/>
              <a:gd name="connsiteY188" fmla="*/ 2830023 h 3171710"/>
              <a:gd name="connsiteX189" fmla="*/ 1998504 w 12193149"/>
              <a:gd name="connsiteY189" fmla="*/ 2822003 h 3171710"/>
              <a:gd name="connsiteX190" fmla="*/ 1929320 w 12193149"/>
              <a:gd name="connsiteY190" fmla="*/ 2843948 h 3171710"/>
              <a:gd name="connsiteX191" fmla="*/ 1922798 w 12193149"/>
              <a:gd name="connsiteY191" fmla="*/ 2839117 h 3171710"/>
              <a:gd name="connsiteX192" fmla="*/ 1874228 w 12193149"/>
              <a:gd name="connsiteY192" fmla="*/ 2840712 h 3171710"/>
              <a:gd name="connsiteX193" fmla="*/ 1787803 w 12193149"/>
              <a:gd name="connsiteY193" fmla="*/ 2868334 h 3171710"/>
              <a:gd name="connsiteX194" fmla="*/ 1739352 w 12193149"/>
              <a:gd name="connsiteY194" fmla="*/ 2863283 h 3171710"/>
              <a:gd name="connsiteX195" fmla="*/ 1676219 w 12193149"/>
              <a:gd name="connsiteY195" fmla="*/ 2846934 h 3171710"/>
              <a:gd name="connsiteX196" fmla="*/ 1609817 w 12193149"/>
              <a:gd name="connsiteY196" fmla="*/ 2840037 h 3171710"/>
              <a:gd name="connsiteX197" fmla="*/ 1497258 w 12193149"/>
              <a:gd name="connsiteY197" fmla="*/ 2814447 h 3171710"/>
              <a:gd name="connsiteX198" fmla="*/ 1151127 w 12193149"/>
              <a:gd name="connsiteY198" fmla="*/ 2765012 h 3171710"/>
              <a:gd name="connsiteX199" fmla="*/ 859417 w 12193149"/>
              <a:gd name="connsiteY199" fmla="*/ 2755579 h 3171710"/>
              <a:gd name="connsiteX200" fmla="*/ 838688 w 12193149"/>
              <a:gd name="connsiteY200" fmla="*/ 2756792 h 3171710"/>
              <a:gd name="connsiteX201" fmla="*/ 817957 w 12193149"/>
              <a:gd name="connsiteY201" fmla="*/ 2754828 h 3171710"/>
              <a:gd name="connsiteX202" fmla="*/ 812654 w 12193149"/>
              <a:gd name="connsiteY202" fmla="*/ 2757722 h 3171710"/>
              <a:gd name="connsiteX203" fmla="*/ 721195 w 12193149"/>
              <a:gd name="connsiteY203" fmla="*/ 2756632 h 3171710"/>
              <a:gd name="connsiteX204" fmla="*/ 720890 w 12193149"/>
              <a:gd name="connsiteY204" fmla="*/ 2755370 h 3171710"/>
              <a:gd name="connsiteX205" fmla="*/ 710023 w 12193149"/>
              <a:gd name="connsiteY205" fmla="*/ 2749693 h 3171710"/>
              <a:gd name="connsiteX206" fmla="*/ 597940 w 12193149"/>
              <a:gd name="connsiteY206" fmla="*/ 2706835 h 3171710"/>
              <a:gd name="connsiteX207" fmla="*/ 579683 w 12193149"/>
              <a:gd name="connsiteY207" fmla="*/ 2704183 h 3171710"/>
              <a:gd name="connsiteX208" fmla="*/ 572865 w 12193149"/>
              <a:gd name="connsiteY208" fmla="*/ 2704372 h 3171710"/>
              <a:gd name="connsiteX209" fmla="*/ 446247 w 12193149"/>
              <a:gd name="connsiteY209" fmla="*/ 2666342 h 3171710"/>
              <a:gd name="connsiteX210" fmla="*/ 405163 w 12193149"/>
              <a:gd name="connsiteY210" fmla="*/ 2660519 h 3171710"/>
              <a:gd name="connsiteX211" fmla="*/ 293583 w 12193149"/>
              <a:gd name="connsiteY211" fmla="*/ 2639823 h 3171710"/>
              <a:gd name="connsiteX212" fmla="*/ 119529 w 12193149"/>
              <a:gd name="connsiteY212" fmla="*/ 2588018 h 3171710"/>
              <a:gd name="connsiteX213" fmla="*/ 16674 w 12193149"/>
              <a:gd name="connsiteY213" fmla="*/ 2585162 h 3171710"/>
              <a:gd name="connsiteX214" fmla="*/ 1150 w 12193149"/>
              <a:gd name="connsiteY214" fmla="*/ 2579693 h 3171710"/>
              <a:gd name="connsiteX215" fmla="*/ 1148 w 12193149"/>
              <a:gd name="connsiteY215" fmla="*/ 1049184 h 3171710"/>
              <a:gd name="connsiteX216" fmla="*/ 1148 w 12193149"/>
              <a:gd name="connsiteY216" fmla="*/ 0 h 317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12193149" h="3171710">
                <a:moveTo>
                  <a:pt x="1148" y="0"/>
                </a:moveTo>
                <a:lnTo>
                  <a:pt x="12181789" y="8189"/>
                </a:lnTo>
                <a:cubicBezTo>
                  <a:pt x="12181789" y="201435"/>
                  <a:pt x="12193149" y="1213464"/>
                  <a:pt x="12193149" y="1406710"/>
                </a:cubicBezTo>
                <a:lnTo>
                  <a:pt x="12185986" y="1411160"/>
                </a:lnTo>
                <a:cubicBezTo>
                  <a:pt x="12156393" y="1404401"/>
                  <a:pt x="12176978" y="1415299"/>
                  <a:pt x="12156363" y="1424337"/>
                </a:cubicBezTo>
                <a:cubicBezTo>
                  <a:pt x="12172308" y="1438279"/>
                  <a:pt x="12127905" y="1429847"/>
                  <a:pt x="12139215" y="1450150"/>
                </a:cubicBezTo>
                <a:cubicBezTo>
                  <a:pt x="12135103" y="1451151"/>
                  <a:pt x="12130766" y="1451483"/>
                  <a:pt x="12126327" y="1451661"/>
                </a:cubicBezTo>
                <a:lnTo>
                  <a:pt x="12124007" y="1451765"/>
                </a:lnTo>
                <a:lnTo>
                  <a:pt x="12116854" y="1455579"/>
                </a:lnTo>
                <a:lnTo>
                  <a:pt x="12099497" y="1455110"/>
                </a:lnTo>
                <a:cubicBezTo>
                  <a:pt x="12095162" y="1456775"/>
                  <a:pt x="12090978" y="1459336"/>
                  <a:pt x="12087073" y="1463312"/>
                </a:cubicBezTo>
                <a:cubicBezTo>
                  <a:pt x="12078890" y="1483714"/>
                  <a:pt x="12040481" y="1480817"/>
                  <a:pt x="12031073" y="1506980"/>
                </a:cubicBezTo>
                <a:cubicBezTo>
                  <a:pt x="12026399" y="1515225"/>
                  <a:pt x="12004497" y="1532326"/>
                  <a:pt x="11995833" y="1530429"/>
                </a:cubicBezTo>
                <a:cubicBezTo>
                  <a:pt x="11990333" y="1532938"/>
                  <a:pt x="11986699" y="1539016"/>
                  <a:pt x="11979717" y="1535132"/>
                </a:cubicBezTo>
                <a:cubicBezTo>
                  <a:pt x="11970382" y="1531211"/>
                  <a:pt x="11963763" y="1554233"/>
                  <a:pt x="11959046" y="1544529"/>
                </a:cubicBezTo>
                <a:lnTo>
                  <a:pt x="11920454" y="1557854"/>
                </a:lnTo>
                <a:cubicBezTo>
                  <a:pt x="11919152" y="1564914"/>
                  <a:pt x="11912619" y="1567116"/>
                  <a:pt x="11903656" y="1569397"/>
                </a:cubicBezTo>
                <a:lnTo>
                  <a:pt x="11895048" y="1571762"/>
                </a:lnTo>
                <a:lnTo>
                  <a:pt x="11891968" y="1582700"/>
                </a:lnTo>
                <a:cubicBezTo>
                  <a:pt x="11881074" y="1573372"/>
                  <a:pt x="11884523" y="1604713"/>
                  <a:pt x="11870776" y="1604787"/>
                </a:cubicBezTo>
                <a:lnTo>
                  <a:pt x="11813376" y="1624630"/>
                </a:lnTo>
                <a:lnTo>
                  <a:pt x="11590693" y="1790748"/>
                </a:lnTo>
                <a:cubicBezTo>
                  <a:pt x="11550201" y="1817685"/>
                  <a:pt x="11542649" y="1767741"/>
                  <a:pt x="11506817" y="1860594"/>
                </a:cubicBezTo>
                <a:cubicBezTo>
                  <a:pt x="11450023" y="1916431"/>
                  <a:pt x="11337127" y="2017145"/>
                  <a:pt x="11280332" y="2050542"/>
                </a:cubicBezTo>
                <a:cubicBezTo>
                  <a:pt x="11267547" y="2058142"/>
                  <a:pt x="11229147" y="2123560"/>
                  <a:pt x="11228309" y="2103207"/>
                </a:cubicBezTo>
                <a:cubicBezTo>
                  <a:pt x="11223950" y="2105174"/>
                  <a:pt x="11220761" y="2104651"/>
                  <a:pt x="11218087" y="2102932"/>
                </a:cubicBezTo>
                <a:lnTo>
                  <a:pt x="11217184" y="2101989"/>
                </a:lnTo>
                <a:lnTo>
                  <a:pt x="11188885" y="2119354"/>
                </a:lnTo>
                <a:lnTo>
                  <a:pt x="11184501" y="2119496"/>
                </a:lnTo>
                <a:lnTo>
                  <a:pt x="11166854" y="2133583"/>
                </a:lnTo>
                <a:lnTo>
                  <a:pt x="11157311" y="2139385"/>
                </a:lnTo>
                <a:lnTo>
                  <a:pt x="11155496" y="2144068"/>
                </a:lnTo>
                <a:cubicBezTo>
                  <a:pt x="11153045" y="2147436"/>
                  <a:pt x="11148902" y="2150083"/>
                  <a:pt x="11140961" y="2151086"/>
                </a:cubicBezTo>
                <a:lnTo>
                  <a:pt x="11138961" y="2150743"/>
                </a:lnTo>
                <a:lnTo>
                  <a:pt x="11128208" y="2160803"/>
                </a:lnTo>
                <a:cubicBezTo>
                  <a:pt x="11124962" y="2164785"/>
                  <a:pt x="11122359" y="2169258"/>
                  <a:pt x="11120691" y="2174395"/>
                </a:cubicBezTo>
                <a:cubicBezTo>
                  <a:pt x="11081770" y="2197656"/>
                  <a:pt x="10952581" y="2271077"/>
                  <a:pt x="10894683" y="2300370"/>
                </a:cubicBezTo>
                <a:cubicBezTo>
                  <a:pt x="10861781" y="2315405"/>
                  <a:pt x="10817803" y="2335857"/>
                  <a:pt x="10773300" y="2350162"/>
                </a:cubicBezTo>
                <a:cubicBezTo>
                  <a:pt x="10733414" y="2394390"/>
                  <a:pt x="10677791" y="2353706"/>
                  <a:pt x="10627668" y="2386200"/>
                </a:cubicBezTo>
                <a:cubicBezTo>
                  <a:pt x="10590276" y="2369074"/>
                  <a:pt x="10613693" y="2389253"/>
                  <a:pt x="10581895" y="2395660"/>
                </a:cubicBezTo>
                <a:cubicBezTo>
                  <a:pt x="10597733" y="2418627"/>
                  <a:pt x="10540912" y="2395212"/>
                  <a:pt x="10547790" y="2425394"/>
                </a:cubicBezTo>
                <a:cubicBezTo>
                  <a:pt x="10541784" y="2425603"/>
                  <a:pt x="10535750" y="2424857"/>
                  <a:pt x="10529643" y="2423878"/>
                </a:cubicBezTo>
                <a:lnTo>
                  <a:pt x="10526446" y="2423382"/>
                </a:lnTo>
                <a:lnTo>
                  <a:pt x="10515129" y="2426508"/>
                </a:lnTo>
                <a:lnTo>
                  <a:pt x="10491735" y="2421127"/>
                </a:lnTo>
                <a:cubicBezTo>
                  <a:pt x="10485147" y="2422161"/>
                  <a:pt x="10478389" y="2424430"/>
                  <a:pt x="10471418" y="2428664"/>
                </a:cubicBezTo>
                <a:cubicBezTo>
                  <a:pt x="10451763" y="2453636"/>
                  <a:pt x="10400774" y="2439247"/>
                  <a:pt x="10377042" y="2471569"/>
                </a:cubicBezTo>
                <a:cubicBezTo>
                  <a:pt x="10367240" y="2481286"/>
                  <a:pt x="10330319" y="2498097"/>
                  <a:pt x="10319338" y="2493192"/>
                </a:cubicBezTo>
                <a:cubicBezTo>
                  <a:pt x="10310813" y="2495031"/>
                  <a:pt x="10303331" y="2502144"/>
                  <a:pt x="10295467" y="2495050"/>
                </a:cubicBezTo>
                <a:cubicBezTo>
                  <a:pt x="10284420" y="2487261"/>
                  <a:pt x="10265794" y="2516157"/>
                  <a:pt x="10263443" y="2501919"/>
                </a:cubicBezTo>
                <a:lnTo>
                  <a:pt x="10205418" y="2509120"/>
                </a:lnTo>
                <a:cubicBezTo>
                  <a:pt x="10200696" y="2518180"/>
                  <a:pt x="10190895" y="2519327"/>
                  <a:pt x="10177759" y="2519914"/>
                </a:cubicBezTo>
                <a:lnTo>
                  <a:pt x="10165070" y="2520710"/>
                </a:lnTo>
                <a:lnTo>
                  <a:pt x="10156308" y="2534458"/>
                </a:lnTo>
                <a:cubicBezTo>
                  <a:pt x="10145406" y="2519028"/>
                  <a:pt x="10136981" y="2561781"/>
                  <a:pt x="10118267" y="2558113"/>
                </a:cubicBezTo>
                <a:lnTo>
                  <a:pt x="10083317" y="2570267"/>
                </a:lnTo>
                <a:cubicBezTo>
                  <a:pt x="10075718" y="2568198"/>
                  <a:pt x="10048011" y="2569526"/>
                  <a:pt x="10040388" y="2568603"/>
                </a:cubicBezTo>
                <a:cubicBezTo>
                  <a:pt x="9999609" y="2578704"/>
                  <a:pt x="9985545" y="2579194"/>
                  <a:pt x="9961167" y="2584118"/>
                </a:cubicBezTo>
                <a:cubicBezTo>
                  <a:pt x="9920131" y="2584260"/>
                  <a:pt x="9889892" y="2581061"/>
                  <a:pt x="9848940" y="2590886"/>
                </a:cubicBezTo>
                <a:lnTo>
                  <a:pt x="9729457" y="2611093"/>
                </a:lnTo>
                <a:cubicBezTo>
                  <a:pt x="9676207" y="2601507"/>
                  <a:pt x="9631235" y="2626730"/>
                  <a:pt x="9613704" y="2639342"/>
                </a:cubicBezTo>
                <a:cubicBezTo>
                  <a:pt x="9548152" y="2653618"/>
                  <a:pt x="9410970" y="2690964"/>
                  <a:pt x="9338590" y="2696264"/>
                </a:cubicBezTo>
                <a:lnTo>
                  <a:pt x="9232518" y="2720120"/>
                </a:lnTo>
                <a:lnTo>
                  <a:pt x="9156690" y="2730199"/>
                </a:lnTo>
                <a:lnTo>
                  <a:pt x="9054601" y="2737726"/>
                </a:lnTo>
                <a:lnTo>
                  <a:pt x="9006634" y="2741011"/>
                </a:lnTo>
                <a:lnTo>
                  <a:pt x="9006349" y="2740771"/>
                </a:lnTo>
                <a:cubicBezTo>
                  <a:pt x="9004294" y="2740551"/>
                  <a:pt x="9001475" y="2740879"/>
                  <a:pt x="8997380" y="2741982"/>
                </a:cubicBezTo>
                <a:lnTo>
                  <a:pt x="8991542" y="2744043"/>
                </a:lnTo>
                <a:lnTo>
                  <a:pt x="8975485" y="2747269"/>
                </a:lnTo>
                <a:lnTo>
                  <a:pt x="8969159" y="2746569"/>
                </a:lnTo>
                <a:lnTo>
                  <a:pt x="8964196" y="2744344"/>
                </a:lnTo>
                <a:cubicBezTo>
                  <a:pt x="8955841" y="2752295"/>
                  <a:pt x="8956668" y="2761243"/>
                  <a:pt x="8930136" y="2741156"/>
                </a:cubicBezTo>
                <a:cubicBezTo>
                  <a:pt x="8899182" y="2742176"/>
                  <a:pt x="8790451" y="2756831"/>
                  <a:pt x="8753592" y="2760388"/>
                </a:cubicBezTo>
                <a:cubicBezTo>
                  <a:pt x="8720970" y="2771108"/>
                  <a:pt x="8749345" y="2757447"/>
                  <a:pt x="8708995" y="2762489"/>
                </a:cubicBezTo>
                <a:cubicBezTo>
                  <a:pt x="8672757" y="2782024"/>
                  <a:pt x="8640293" y="2765584"/>
                  <a:pt x="8597219" y="2771061"/>
                </a:cubicBezTo>
                <a:lnTo>
                  <a:pt x="8526378" y="2756219"/>
                </a:lnTo>
                <a:lnTo>
                  <a:pt x="8512131" y="2762134"/>
                </a:lnTo>
                <a:lnTo>
                  <a:pt x="8507315" y="2765135"/>
                </a:lnTo>
                <a:cubicBezTo>
                  <a:pt x="8503797" y="2766912"/>
                  <a:pt x="8501196" y="2767723"/>
                  <a:pt x="8499116" y="2767873"/>
                </a:cubicBezTo>
                <a:lnTo>
                  <a:pt x="8498742" y="2767694"/>
                </a:lnTo>
                <a:lnTo>
                  <a:pt x="8491397" y="2770744"/>
                </a:lnTo>
                <a:lnTo>
                  <a:pt x="8368330" y="2784786"/>
                </a:lnTo>
                <a:cubicBezTo>
                  <a:pt x="8363173" y="2786811"/>
                  <a:pt x="8358881" y="2786463"/>
                  <a:pt x="8354947" y="2784980"/>
                </a:cubicBezTo>
                <a:lnTo>
                  <a:pt x="8321252" y="2801558"/>
                </a:lnTo>
                <a:lnTo>
                  <a:pt x="8315581" y="2801884"/>
                </a:lnTo>
                <a:lnTo>
                  <a:pt x="8296322" y="2815779"/>
                </a:lnTo>
                <a:lnTo>
                  <a:pt x="8285424" y="2821602"/>
                </a:lnTo>
                <a:lnTo>
                  <a:pt x="8284298" y="2826045"/>
                </a:lnTo>
                <a:cubicBezTo>
                  <a:pt x="8281994" y="2829290"/>
                  <a:pt x="8277300" y="2831938"/>
                  <a:pt x="8267224" y="2833220"/>
                </a:cubicBezTo>
                <a:lnTo>
                  <a:pt x="8264525" y="2832990"/>
                </a:lnTo>
                <a:lnTo>
                  <a:pt x="8253181" y="2842833"/>
                </a:lnTo>
                <a:cubicBezTo>
                  <a:pt x="8250007" y="2846683"/>
                  <a:pt x="8247795" y="2850965"/>
                  <a:pt x="8246982" y="2855825"/>
                </a:cubicBezTo>
                <a:cubicBezTo>
                  <a:pt x="8182975" y="2852918"/>
                  <a:pt x="8148279" y="2887040"/>
                  <a:pt x="8091420" y="2901986"/>
                </a:cubicBezTo>
                <a:cubicBezTo>
                  <a:pt x="8026616" y="2925128"/>
                  <a:pt x="7968218" y="2946364"/>
                  <a:pt x="7906555" y="2943959"/>
                </a:cubicBezTo>
                <a:cubicBezTo>
                  <a:pt x="7836267" y="2958871"/>
                  <a:pt x="7782114" y="2961102"/>
                  <a:pt x="7719893" y="2969674"/>
                </a:cubicBezTo>
                <a:lnTo>
                  <a:pt x="7615495" y="2966203"/>
                </a:lnTo>
                <a:lnTo>
                  <a:pt x="7528691" y="2972031"/>
                </a:lnTo>
                <a:lnTo>
                  <a:pt x="7520719" y="2974584"/>
                </a:lnTo>
                <a:cubicBezTo>
                  <a:pt x="7515141" y="2975923"/>
                  <a:pt x="7511320" y="2976273"/>
                  <a:pt x="7508559" y="2975919"/>
                </a:cubicBezTo>
                <a:lnTo>
                  <a:pt x="7508188" y="2975592"/>
                </a:lnTo>
                <a:lnTo>
                  <a:pt x="7496943" y="2977544"/>
                </a:lnTo>
                <a:lnTo>
                  <a:pt x="7219707" y="2983651"/>
                </a:lnTo>
                <a:lnTo>
                  <a:pt x="7202249" y="2988201"/>
                </a:lnTo>
                <a:lnTo>
                  <a:pt x="7198152" y="2993559"/>
                </a:lnTo>
                <a:cubicBezTo>
                  <a:pt x="7193259" y="2997082"/>
                  <a:pt x="7185654" y="2999221"/>
                  <a:pt x="7171956" y="2998207"/>
                </a:cubicBezTo>
                <a:lnTo>
                  <a:pt x="7098136" y="3010435"/>
                </a:lnTo>
                <a:cubicBezTo>
                  <a:pt x="7062296" y="3011413"/>
                  <a:pt x="7051336" y="3012390"/>
                  <a:pt x="7019644" y="3010061"/>
                </a:cubicBezTo>
                <a:cubicBezTo>
                  <a:pt x="6938675" y="3020999"/>
                  <a:pt x="6944793" y="3045165"/>
                  <a:pt x="6905294" y="3039567"/>
                </a:cubicBezTo>
                <a:cubicBezTo>
                  <a:pt x="6873070" y="3034359"/>
                  <a:pt x="6789137" y="3053433"/>
                  <a:pt x="6709370" y="3067522"/>
                </a:cubicBezTo>
                <a:cubicBezTo>
                  <a:pt x="6650254" y="3076977"/>
                  <a:pt x="6629253" y="3091078"/>
                  <a:pt x="6550602" y="3096298"/>
                </a:cubicBezTo>
                <a:cubicBezTo>
                  <a:pt x="6473302" y="3140388"/>
                  <a:pt x="6410843" y="3116665"/>
                  <a:pt x="6318708" y="3143098"/>
                </a:cubicBezTo>
                <a:cubicBezTo>
                  <a:pt x="6298698" y="3158620"/>
                  <a:pt x="6210439" y="3141427"/>
                  <a:pt x="6169822" y="3145185"/>
                </a:cubicBezTo>
                <a:cubicBezTo>
                  <a:pt x="6129203" y="3148943"/>
                  <a:pt x="6091688" y="3162491"/>
                  <a:pt x="6074996" y="3165647"/>
                </a:cubicBezTo>
                <a:lnTo>
                  <a:pt x="6069677" y="3164110"/>
                </a:lnTo>
                <a:lnTo>
                  <a:pt x="6049786" y="3164793"/>
                </a:lnTo>
                <a:lnTo>
                  <a:pt x="6042433" y="3156444"/>
                </a:lnTo>
                <a:lnTo>
                  <a:pt x="6011238" y="3151351"/>
                </a:lnTo>
                <a:cubicBezTo>
                  <a:pt x="5999830" y="3150764"/>
                  <a:pt x="5971276" y="3151677"/>
                  <a:pt x="5958523" y="3154995"/>
                </a:cubicBezTo>
                <a:lnTo>
                  <a:pt x="5760067" y="3170687"/>
                </a:lnTo>
                <a:lnTo>
                  <a:pt x="5628108" y="3171710"/>
                </a:lnTo>
                <a:lnTo>
                  <a:pt x="5472054" y="3157690"/>
                </a:lnTo>
                <a:cubicBezTo>
                  <a:pt x="5479284" y="3144662"/>
                  <a:pt x="5440157" y="3158728"/>
                  <a:pt x="5433909" y="3146437"/>
                </a:cubicBezTo>
                <a:cubicBezTo>
                  <a:pt x="5430517" y="3136405"/>
                  <a:pt x="5392976" y="3131721"/>
                  <a:pt x="5382817" y="3128735"/>
                </a:cubicBezTo>
                <a:lnTo>
                  <a:pt x="5262912" y="3108318"/>
                </a:lnTo>
                <a:cubicBezTo>
                  <a:pt x="5252746" y="3108134"/>
                  <a:pt x="5231699" y="3099824"/>
                  <a:pt x="5224109" y="3097194"/>
                </a:cubicBezTo>
                <a:lnTo>
                  <a:pt x="5175808" y="3094204"/>
                </a:lnTo>
                <a:lnTo>
                  <a:pt x="5157702" y="3086981"/>
                </a:lnTo>
                <a:lnTo>
                  <a:pt x="5143747" y="3083581"/>
                </a:lnTo>
                <a:lnTo>
                  <a:pt x="5140744" y="3081480"/>
                </a:lnTo>
                <a:cubicBezTo>
                  <a:pt x="5135026" y="3077440"/>
                  <a:pt x="5129229" y="3073629"/>
                  <a:pt x="5122807" y="3070627"/>
                </a:cubicBezTo>
                <a:cubicBezTo>
                  <a:pt x="5109467" y="3099246"/>
                  <a:pt x="5066004" y="3049810"/>
                  <a:pt x="5066938" y="3077198"/>
                </a:cubicBezTo>
                <a:cubicBezTo>
                  <a:pt x="5029345" y="3065682"/>
                  <a:pt x="5040096" y="3094771"/>
                  <a:pt x="5012662" y="3060817"/>
                </a:cubicBezTo>
                <a:cubicBezTo>
                  <a:pt x="4938174" y="3061200"/>
                  <a:pt x="4917504" y="3074207"/>
                  <a:pt x="4841589" y="3036800"/>
                </a:cubicBezTo>
                <a:cubicBezTo>
                  <a:pt x="4807890" y="3020158"/>
                  <a:pt x="4785258" y="3009012"/>
                  <a:pt x="4763595" y="3009032"/>
                </a:cubicBezTo>
                <a:cubicBezTo>
                  <a:pt x="4742475" y="3004532"/>
                  <a:pt x="4730631" y="3001709"/>
                  <a:pt x="4724334" y="3000018"/>
                </a:cubicBezTo>
                <a:lnTo>
                  <a:pt x="4722324" y="2999269"/>
                </a:lnTo>
                <a:lnTo>
                  <a:pt x="4723259" y="2999058"/>
                </a:lnTo>
                <a:cubicBezTo>
                  <a:pt x="4722296" y="2998416"/>
                  <a:pt x="4719415" y="2997810"/>
                  <a:pt x="4718350" y="2997788"/>
                </a:cubicBezTo>
                <a:lnTo>
                  <a:pt x="4722324" y="2999269"/>
                </a:lnTo>
                <a:lnTo>
                  <a:pt x="4716674" y="3000544"/>
                </a:lnTo>
                <a:cubicBezTo>
                  <a:pt x="4681300" y="2993588"/>
                  <a:pt x="4525895" y="2992780"/>
                  <a:pt x="4516962" y="2990642"/>
                </a:cubicBezTo>
                <a:cubicBezTo>
                  <a:pt x="4458971" y="2977530"/>
                  <a:pt x="4463810" y="2976789"/>
                  <a:pt x="4429691" y="2979991"/>
                </a:cubicBezTo>
                <a:cubicBezTo>
                  <a:pt x="4424455" y="2983362"/>
                  <a:pt x="4370126" y="2977068"/>
                  <a:pt x="4364023" y="2978645"/>
                </a:cubicBezTo>
                <a:lnTo>
                  <a:pt x="4318114" y="2985260"/>
                </a:lnTo>
                <a:lnTo>
                  <a:pt x="4316258" y="2983919"/>
                </a:lnTo>
                <a:cubicBezTo>
                  <a:pt x="4307275" y="2980548"/>
                  <a:pt x="4301145" y="2980549"/>
                  <a:pt x="4296292" y="2982040"/>
                </a:cubicBezTo>
                <a:lnTo>
                  <a:pt x="4291212" y="2984957"/>
                </a:lnTo>
                <a:lnTo>
                  <a:pt x="4277290" y="2984711"/>
                </a:lnTo>
                <a:lnTo>
                  <a:pt x="4249265" y="2987035"/>
                </a:lnTo>
                <a:lnTo>
                  <a:pt x="4203199" y="2984240"/>
                </a:lnTo>
                <a:cubicBezTo>
                  <a:pt x="4203096" y="2983820"/>
                  <a:pt x="4202995" y="2983401"/>
                  <a:pt x="4202893" y="2982981"/>
                </a:cubicBezTo>
                <a:cubicBezTo>
                  <a:pt x="4201267" y="2980144"/>
                  <a:pt x="4198292" y="2978025"/>
                  <a:pt x="4192396" y="2977347"/>
                </a:cubicBezTo>
                <a:cubicBezTo>
                  <a:pt x="4205365" y="2960058"/>
                  <a:pt x="4162425" y="2961953"/>
                  <a:pt x="4143893" y="2961482"/>
                </a:cubicBezTo>
                <a:cubicBezTo>
                  <a:pt x="4125868" y="2954416"/>
                  <a:pt x="4100250" y="2940836"/>
                  <a:pt x="4084245" y="2934949"/>
                </a:cubicBezTo>
                <a:lnTo>
                  <a:pt x="4075694" y="2934114"/>
                </a:lnTo>
                <a:cubicBezTo>
                  <a:pt x="4075655" y="2934013"/>
                  <a:pt x="4075614" y="2933914"/>
                  <a:pt x="4075575" y="2933815"/>
                </a:cubicBezTo>
                <a:cubicBezTo>
                  <a:pt x="4073829" y="2933031"/>
                  <a:pt x="4071057" y="2932530"/>
                  <a:pt x="4066658" y="2932371"/>
                </a:cubicBezTo>
                <a:lnTo>
                  <a:pt x="4060102" y="2932589"/>
                </a:lnTo>
                <a:lnTo>
                  <a:pt x="4043512" y="2930968"/>
                </a:lnTo>
                <a:lnTo>
                  <a:pt x="4038145" y="2928534"/>
                </a:lnTo>
                <a:lnTo>
                  <a:pt x="4036511" y="2924867"/>
                </a:lnTo>
                <a:lnTo>
                  <a:pt x="4034926" y="2925102"/>
                </a:lnTo>
                <a:cubicBezTo>
                  <a:pt x="4022576" y="2929966"/>
                  <a:pt x="4018025" y="2938342"/>
                  <a:pt x="4005686" y="2912534"/>
                </a:cubicBezTo>
                <a:lnTo>
                  <a:pt x="3937994" y="2895077"/>
                </a:lnTo>
                <a:cubicBezTo>
                  <a:pt x="3921658" y="2902801"/>
                  <a:pt x="3909686" y="2898112"/>
                  <a:pt x="3898423" y="2889422"/>
                </a:cubicBezTo>
                <a:cubicBezTo>
                  <a:pt x="3862243" y="2889918"/>
                  <a:pt x="3830779" y="2876048"/>
                  <a:pt x="3790908" y="2869184"/>
                </a:cubicBezTo>
                <a:cubicBezTo>
                  <a:pt x="3742158" y="2854478"/>
                  <a:pt x="3726280" y="2852501"/>
                  <a:pt x="3683661" y="2845261"/>
                </a:cubicBezTo>
                <a:lnTo>
                  <a:pt x="3611183" y="2812990"/>
                </a:lnTo>
                <a:lnTo>
                  <a:pt x="3605003" y="2814352"/>
                </a:lnTo>
                <a:cubicBezTo>
                  <a:pt x="3600731" y="2814971"/>
                  <a:pt x="3597877" y="2814971"/>
                  <a:pt x="3595884" y="2814516"/>
                </a:cubicBezTo>
                <a:lnTo>
                  <a:pt x="3595649" y="2814247"/>
                </a:lnTo>
                <a:lnTo>
                  <a:pt x="3587126" y="2814937"/>
                </a:lnTo>
                <a:cubicBezTo>
                  <a:pt x="3572774" y="2816728"/>
                  <a:pt x="3550540" y="2802529"/>
                  <a:pt x="3537283" y="2805238"/>
                </a:cubicBezTo>
                <a:cubicBezTo>
                  <a:pt x="3515092" y="2800942"/>
                  <a:pt x="3489773" y="2807207"/>
                  <a:pt x="3474371" y="2801577"/>
                </a:cubicBezTo>
                <a:lnTo>
                  <a:pt x="3401876" y="2789529"/>
                </a:lnTo>
                <a:lnTo>
                  <a:pt x="3365036" y="2806481"/>
                </a:lnTo>
                <a:cubicBezTo>
                  <a:pt x="3361007" y="2808779"/>
                  <a:pt x="3355145" y="2809857"/>
                  <a:pt x="3345174" y="2808163"/>
                </a:cubicBezTo>
                <a:lnTo>
                  <a:pt x="3342846" y="2807188"/>
                </a:lnTo>
                <a:cubicBezTo>
                  <a:pt x="3337528" y="2809659"/>
                  <a:pt x="3296694" y="2810789"/>
                  <a:pt x="3263504" y="2813065"/>
                </a:cubicBezTo>
                <a:cubicBezTo>
                  <a:pt x="3210873" y="2815406"/>
                  <a:pt x="3204538" y="2823378"/>
                  <a:pt x="3143704" y="2820840"/>
                </a:cubicBezTo>
                <a:cubicBezTo>
                  <a:pt x="3083839" y="2822069"/>
                  <a:pt x="3073438" y="2828075"/>
                  <a:pt x="3031439" y="2823483"/>
                </a:cubicBezTo>
                <a:lnTo>
                  <a:pt x="2782717" y="2845304"/>
                </a:lnTo>
                <a:cubicBezTo>
                  <a:pt x="2720447" y="2872959"/>
                  <a:pt x="2718750" y="2842390"/>
                  <a:pt x="2647675" y="2855840"/>
                </a:cubicBezTo>
                <a:cubicBezTo>
                  <a:pt x="2583664" y="2795905"/>
                  <a:pt x="2609849" y="2834173"/>
                  <a:pt x="2569176" y="2829599"/>
                </a:cubicBezTo>
                <a:lnTo>
                  <a:pt x="2444403" y="2843500"/>
                </a:lnTo>
                <a:cubicBezTo>
                  <a:pt x="2412730" y="2860060"/>
                  <a:pt x="2355175" y="2829971"/>
                  <a:pt x="2316260" y="2851967"/>
                </a:cubicBezTo>
                <a:cubicBezTo>
                  <a:pt x="2277148" y="2852505"/>
                  <a:pt x="2234330" y="2848310"/>
                  <a:pt x="2209726" y="2846734"/>
                </a:cubicBezTo>
                <a:cubicBezTo>
                  <a:pt x="2172984" y="2843077"/>
                  <a:pt x="2131016" y="2834145"/>
                  <a:pt x="2095813" y="2830023"/>
                </a:cubicBezTo>
                <a:cubicBezTo>
                  <a:pt x="2078687" y="2843632"/>
                  <a:pt x="2046700" y="2821328"/>
                  <a:pt x="1998504" y="2822003"/>
                </a:cubicBezTo>
                <a:cubicBezTo>
                  <a:pt x="1979851" y="2837650"/>
                  <a:pt x="1965997" y="2822267"/>
                  <a:pt x="1929320" y="2843948"/>
                </a:cubicBezTo>
                <a:cubicBezTo>
                  <a:pt x="1927506" y="2842156"/>
                  <a:pt x="1925308" y="2840529"/>
                  <a:pt x="1922798" y="2839117"/>
                </a:cubicBezTo>
                <a:cubicBezTo>
                  <a:pt x="1908224" y="2830923"/>
                  <a:pt x="1886476" y="2831636"/>
                  <a:pt x="1874228" y="2840712"/>
                </a:cubicBezTo>
                <a:cubicBezTo>
                  <a:pt x="1844711" y="2855471"/>
                  <a:pt x="1815838" y="2863248"/>
                  <a:pt x="1787803" y="2868334"/>
                </a:cubicBezTo>
                <a:lnTo>
                  <a:pt x="1739352" y="2863283"/>
                </a:lnTo>
                <a:cubicBezTo>
                  <a:pt x="1720756" y="2859717"/>
                  <a:pt x="1697809" y="2850808"/>
                  <a:pt x="1676219" y="2846934"/>
                </a:cubicBezTo>
                <a:cubicBezTo>
                  <a:pt x="1653856" y="2845729"/>
                  <a:pt x="1629782" y="2852334"/>
                  <a:pt x="1609817" y="2840037"/>
                </a:cubicBezTo>
                <a:cubicBezTo>
                  <a:pt x="1570834" y="2828361"/>
                  <a:pt x="1525521" y="2848516"/>
                  <a:pt x="1497258" y="2814447"/>
                </a:cubicBezTo>
                <a:cubicBezTo>
                  <a:pt x="1419429" y="2799738"/>
                  <a:pt x="1265224" y="2779725"/>
                  <a:pt x="1151127" y="2765012"/>
                </a:cubicBezTo>
                <a:cubicBezTo>
                  <a:pt x="1044820" y="2755201"/>
                  <a:pt x="911490" y="2756949"/>
                  <a:pt x="859417" y="2755579"/>
                </a:cubicBezTo>
                <a:lnTo>
                  <a:pt x="838688" y="2756792"/>
                </a:lnTo>
                <a:cubicBezTo>
                  <a:pt x="829380" y="2753383"/>
                  <a:pt x="823010" y="2753358"/>
                  <a:pt x="817957" y="2754828"/>
                </a:cubicBezTo>
                <a:lnTo>
                  <a:pt x="812654" y="2757722"/>
                </a:lnTo>
                <a:lnTo>
                  <a:pt x="721195" y="2756632"/>
                </a:lnTo>
                <a:cubicBezTo>
                  <a:pt x="721095" y="2756212"/>
                  <a:pt x="720991" y="2755791"/>
                  <a:pt x="720890" y="2755370"/>
                </a:cubicBezTo>
                <a:cubicBezTo>
                  <a:pt x="719222" y="2752527"/>
                  <a:pt x="716144" y="2750395"/>
                  <a:pt x="710023" y="2749693"/>
                </a:cubicBezTo>
                <a:cubicBezTo>
                  <a:pt x="689532" y="2741604"/>
                  <a:pt x="619665" y="2714421"/>
                  <a:pt x="597940" y="2706835"/>
                </a:cubicBezTo>
                <a:cubicBezTo>
                  <a:pt x="587430" y="2706236"/>
                  <a:pt x="583862" y="2704593"/>
                  <a:pt x="579683" y="2704183"/>
                </a:cubicBezTo>
                <a:lnTo>
                  <a:pt x="572865" y="2704372"/>
                </a:lnTo>
                <a:cubicBezTo>
                  <a:pt x="550627" y="2698066"/>
                  <a:pt x="474197" y="2673651"/>
                  <a:pt x="446247" y="2666342"/>
                </a:cubicBezTo>
                <a:cubicBezTo>
                  <a:pt x="429213" y="2673994"/>
                  <a:pt x="416808" y="2669256"/>
                  <a:pt x="405163" y="2660519"/>
                </a:cubicBezTo>
                <a:cubicBezTo>
                  <a:pt x="367566" y="2660861"/>
                  <a:pt x="334968" y="2646856"/>
                  <a:pt x="293583" y="2639823"/>
                </a:cubicBezTo>
                <a:lnTo>
                  <a:pt x="119529" y="2588018"/>
                </a:lnTo>
                <a:cubicBezTo>
                  <a:pt x="73377" y="2578908"/>
                  <a:pt x="36403" y="2586550"/>
                  <a:pt x="16674" y="2585162"/>
                </a:cubicBezTo>
                <a:lnTo>
                  <a:pt x="1150" y="2579693"/>
                </a:lnTo>
                <a:cubicBezTo>
                  <a:pt x="-1438" y="2323697"/>
                  <a:pt x="1148" y="1341304"/>
                  <a:pt x="1148" y="1049184"/>
                </a:cubicBezTo>
                <a:lnTo>
                  <a:pt x="1148" y="0"/>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title"/>
          </p:nvPr>
        </p:nvSpPr>
        <p:spPr>
          <a:xfrm>
            <a:off x="852777" y="548640"/>
            <a:ext cx="7437474" cy="1188720"/>
          </a:xfrm>
        </p:spPr>
        <p:txBody>
          <a:bodyPr>
            <a:normAutofit/>
          </a:bodyPr>
          <a:lstStyle/>
          <a:p>
            <a:pPr>
              <a:lnSpc>
                <a:spcPct val="90000"/>
              </a:lnSpc>
            </a:pPr>
            <a:r>
              <a:rPr lang="en-US" sz="3700">
                <a:solidFill>
                  <a:schemeClr val="tx1">
                    <a:lumMod val="85000"/>
                    <a:lumOff val="15000"/>
                  </a:schemeClr>
                </a:solidFill>
              </a:rPr>
              <a:t>Commercial Diligence: Customer &amp; Market</a:t>
            </a:r>
          </a:p>
        </p:txBody>
      </p:sp>
      <p:sp>
        <p:nvSpPr>
          <p:cNvPr id="3" name="Content Placeholder 2"/>
          <p:cNvSpPr>
            <a:spLocks noGrp="1"/>
          </p:cNvSpPr>
          <p:nvPr>
            <p:ph idx="1"/>
          </p:nvPr>
        </p:nvSpPr>
        <p:spPr>
          <a:xfrm>
            <a:off x="1468490" y="2431767"/>
            <a:ext cx="6207019" cy="3685156"/>
          </a:xfrm>
        </p:spPr>
        <p:txBody>
          <a:bodyPr anchor="ctr">
            <a:normAutofit/>
          </a:bodyPr>
          <a:lstStyle/>
          <a:p>
            <a:endParaRPr lang="en-US" sz="1700">
              <a:solidFill>
                <a:schemeClr val="tx1">
                  <a:lumMod val="85000"/>
                  <a:lumOff val="15000"/>
                </a:schemeClr>
              </a:solidFill>
            </a:endParaRPr>
          </a:p>
          <a:p>
            <a:r>
              <a:rPr lang="en-US" sz="1700">
                <a:solidFill>
                  <a:schemeClr val="tx1">
                    <a:lumMod val="85000"/>
                    <a:lumOff val="15000"/>
                  </a:schemeClr>
                </a:solidFill>
              </a:rPr>
              <a:t>A distinct high‑value segment (~20% of base) shows much higher frequency and spend.</a:t>
            </a:r>
          </a:p>
          <a:p>
            <a:r>
              <a:rPr lang="en-US" sz="1700">
                <a:solidFill>
                  <a:schemeClr val="tx1">
                    <a:lumMod val="85000"/>
                    <a:lumOff val="15000"/>
                  </a:schemeClr>
                </a:solidFill>
              </a:rPr>
              <a:t>Most surprising</a:t>
            </a:r>
          </a:p>
          <a:p>
            <a:pPr lvl="1"/>
            <a:r>
              <a:rPr lang="en-US" sz="1700">
                <a:solidFill>
                  <a:schemeClr val="tx1">
                    <a:lumMod val="85000"/>
                    <a:lumOff val="15000"/>
                  </a:schemeClr>
                </a:solidFill>
              </a:rPr>
              <a:t>Age and stated strategic risk level are not primary drivers of spend</a:t>
            </a:r>
          </a:p>
          <a:p>
            <a:r>
              <a:rPr lang="en-US" sz="1700">
                <a:solidFill>
                  <a:schemeClr val="tx1">
                    <a:lumMod val="85000"/>
                    <a:lumOff val="15000"/>
                  </a:schemeClr>
                </a:solidFill>
              </a:rPr>
              <a:t>Connections across functions</a:t>
            </a:r>
          </a:p>
          <a:p>
            <a:pPr lvl="1"/>
            <a:r>
              <a:rPr lang="en-US" sz="1700">
                <a:solidFill>
                  <a:schemeClr val="tx1">
                    <a:lumMod val="85000"/>
                    <a:lumOff val="15000"/>
                  </a:schemeClr>
                </a:solidFill>
              </a:rPr>
              <a:t>Overlaps with categories that show profit outliers (Toys/Electronics) and with top geographies (USA/UK/France)</a:t>
            </a:r>
          </a:p>
          <a:p>
            <a:pPr lvl="1"/>
            <a:r>
              <a:rPr lang="en-US" sz="1700">
                <a:solidFill>
                  <a:schemeClr val="tx1">
                    <a:lumMod val="85000"/>
                    <a:lumOff val="15000"/>
                  </a:schemeClr>
                </a:solidFill>
              </a:rPr>
              <a:t>Inputs targeting for loyalty, bundling, and inventory allocation</a:t>
            </a:r>
          </a:p>
        </p:txBody>
      </p:sp>
      <p:pic>
        <p:nvPicPr>
          <p:cNvPr id="5" name="Recorded Sound">
            <a:hlinkClick r:id="" action="ppaction://media"/>
            <a:extLst>
              <a:ext uri="{FF2B5EF4-FFF2-40B4-BE49-F238E27FC236}">
                <a16:creationId xmlns:a16="http://schemas.microsoft.com/office/drawing/2014/main" id="{756A5B2F-5B95-6141-A27B-A6FF0AAB8006}"/>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445500" y="6248400"/>
            <a:ext cx="609600" cy="6096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794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C9A36457-A5F4-4103-A443-02581C0918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Shape 26">
            <a:extLst>
              <a:ext uri="{FF2B5EF4-FFF2-40B4-BE49-F238E27FC236}">
                <a16:creationId xmlns:a16="http://schemas.microsoft.com/office/drawing/2014/main" id="{DC5FB7E8-B636-40FA-BE8D-48145C0F5C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
            <a:ext cx="9144000" cy="2295238"/>
          </a:xfrm>
          <a:custGeom>
            <a:avLst/>
            <a:gdLst>
              <a:gd name="connsiteX0" fmla="*/ 12160143 w 12192000"/>
              <a:gd name="connsiteY0" fmla="*/ 831692 h 2079137"/>
              <a:gd name="connsiteX1" fmla="*/ 12159112 w 12192000"/>
              <a:gd name="connsiteY1" fmla="*/ 833361 h 2079137"/>
              <a:gd name="connsiteX2" fmla="*/ 12158912 w 12192000"/>
              <a:gd name="connsiteY2" fmla="*/ 832430 h 2079137"/>
              <a:gd name="connsiteX3" fmla="*/ 0 w 12192000"/>
              <a:gd name="connsiteY3" fmla="*/ 0 h 2079137"/>
              <a:gd name="connsiteX4" fmla="*/ 12192000 w 12192000"/>
              <a:gd name="connsiteY4" fmla="*/ 0 h 2079137"/>
              <a:gd name="connsiteX5" fmla="*/ 12192000 w 12192000"/>
              <a:gd name="connsiteY5" fmla="*/ 558063 h 2079137"/>
              <a:gd name="connsiteX6" fmla="*/ 12189259 w 12192000"/>
              <a:gd name="connsiteY6" fmla="*/ 810508 h 2079137"/>
              <a:gd name="connsiteX7" fmla="*/ 12170847 w 12192000"/>
              <a:gd name="connsiteY7" fmla="*/ 825280 h 2079137"/>
              <a:gd name="connsiteX8" fmla="*/ 12160143 w 12192000"/>
              <a:gd name="connsiteY8" fmla="*/ 831692 h 2079137"/>
              <a:gd name="connsiteX9" fmla="*/ 12163806 w 12192000"/>
              <a:gd name="connsiteY9" fmla="*/ 825759 h 2079137"/>
              <a:gd name="connsiteX10" fmla="*/ 12056557 w 12192000"/>
              <a:gd name="connsiteY10" fmla="*/ 810176 h 2079137"/>
              <a:gd name="connsiteX11" fmla="*/ 11900316 w 12192000"/>
              <a:gd name="connsiteY11" fmla="*/ 789618 h 2079137"/>
              <a:gd name="connsiteX12" fmla="*/ 11791206 w 12192000"/>
              <a:gd name="connsiteY12" fmla="*/ 824176 h 2079137"/>
              <a:gd name="connsiteX13" fmla="*/ 11659257 w 12192000"/>
              <a:gd name="connsiteY13" fmla="*/ 800841 h 2079137"/>
              <a:gd name="connsiteX14" fmla="*/ 11569789 w 12192000"/>
              <a:gd name="connsiteY14" fmla="*/ 797135 h 2079137"/>
              <a:gd name="connsiteX15" fmla="*/ 11367885 w 12192000"/>
              <a:gd name="connsiteY15" fmla="*/ 791985 h 2079137"/>
              <a:gd name="connsiteX16" fmla="*/ 11174663 w 12192000"/>
              <a:gd name="connsiteY16" fmla="*/ 788721 h 2079137"/>
              <a:gd name="connsiteX17" fmla="*/ 11068220 w 12192000"/>
              <a:gd name="connsiteY17" fmla="*/ 786994 h 2079137"/>
              <a:gd name="connsiteX18" fmla="*/ 10893266 w 12192000"/>
              <a:gd name="connsiteY18" fmla="*/ 794013 h 2079137"/>
              <a:gd name="connsiteX19" fmla="*/ 10844025 w 12192000"/>
              <a:gd name="connsiteY19" fmla="*/ 789857 h 2079137"/>
              <a:gd name="connsiteX20" fmla="*/ 10814353 w 12192000"/>
              <a:gd name="connsiteY20" fmla="*/ 789010 h 2079137"/>
              <a:gd name="connsiteX21" fmla="*/ 10748393 w 12192000"/>
              <a:gd name="connsiteY21" fmla="*/ 806738 h 2079137"/>
              <a:gd name="connsiteX22" fmla="*/ 10468256 w 12192000"/>
              <a:gd name="connsiteY22" fmla="*/ 778733 h 2079137"/>
              <a:gd name="connsiteX23" fmla="*/ 10256131 w 12192000"/>
              <a:gd name="connsiteY23" fmla="*/ 788332 h 2079137"/>
              <a:gd name="connsiteX24" fmla="*/ 10177442 w 12192000"/>
              <a:gd name="connsiteY24" fmla="*/ 777371 h 2079137"/>
              <a:gd name="connsiteX25" fmla="*/ 10006086 w 12192000"/>
              <a:gd name="connsiteY25" fmla="*/ 792651 h 2079137"/>
              <a:gd name="connsiteX26" fmla="*/ 9952382 w 12192000"/>
              <a:gd name="connsiteY26" fmla="*/ 815411 h 2079137"/>
              <a:gd name="connsiteX27" fmla="*/ 9926457 w 12192000"/>
              <a:gd name="connsiteY27" fmla="*/ 827295 h 2079137"/>
              <a:gd name="connsiteX28" fmla="*/ 9843405 w 12192000"/>
              <a:gd name="connsiteY28" fmla="*/ 867046 h 2079137"/>
              <a:gd name="connsiteX29" fmla="*/ 9830866 w 12192000"/>
              <a:gd name="connsiteY29" fmla="*/ 875047 h 2079137"/>
              <a:gd name="connsiteX30" fmla="*/ 9801807 w 12192000"/>
              <a:gd name="connsiteY30" fmla="*/ 872272 h 2079137"/>
              <a:gd name="connsiteX31" fmla="*/ 9785653 w 12192000"/>
              <a:gd name="connsiteY31" fmla="*/ 861743 h 2079137"/>
              <a:gd name="connsiteX32" fmla="*/ 9781177 w 12192000"/>
              <a:gd name="connsiteY32" fmla="*/ 864820 h 2079137"/>
              <a:gd name="connsiteX33" fmla="*/ 9768640 w 12192000"/>
              <a:gd name="connsiteY33" fmla="*/ 869379 h 2079137"/>
              <a:gd name="connsiteX34" fmla="*/ 9712211 w 12192000"/>
              <a:gd name="connsiteY34" fmla="*/ 900283 h 2079137"/>
              <a:gd name="connsiteX35" fmla="*/ 9689465 w 12192000"/>
              <a:gd name="connsiteY35" fmla="*/ 899268 h 2079137"/>
              <a:gd name="connsiteX36" fmla="*/ 9600339 w 12192000"/>
              <a:gd name="connsiteY36" fmla="*/ 922112 h 2079137"/>
              <a:gd name="connsiteX37" fmla="*/ 9582850 w 12192000"/>
              <a:gd name="connsiteY37" fmla="*/ 925510 h 2079137"/>
              <a:gd name="connsiteX38" fmla="*/ 9549638 w 12192000"/>
              <a:gd name="connsiteY38" fmla="*/ 940845 h 2079137"/>
              <a:gd name="connsiteX39" fmla="*/ 9539471 w 12192000"/>
              <a:gd name="connsiteY39" fmla="*/ 941799 h 2079137"/>
              <a:gd name="connsiteX40" fmla="*/ 9505592 w 12192000"/>
              <a:gd name="connsiteY40" fmla="*/ 955533 h 2079137"/>
              <a:gd name="connsiteX41" fmla="*/ 9432569 w 12192000"/>
              <a:gd name="connsiteY41" fmla="*/ 985377 h 2079137"/>
              <a:gd name="connsiteX42" fmla="*/ 9414216 w 12192000"/>
              <a:gd name="connsiteY42" fmla="*/ 992655 h 2079137"/>
              <a:gd name="connsiteX43" fmla="*/ 9397106 w 12192000"/>
              <a:gd name="connsiteY43" fmla="*/ 992980 h 2079137"/>
              <a:gd name="connsiteX44" fmla="*/ 9305108 w 12192000"/>
              <a:gd name="connsiteY44" fmla="*/ 1007767 h 2079137"/>
              <a:gd name="connsiteX45" fmla="*/ 9282434 w 12192000"/>
              <a:gd name="connsiteY45" fmla="*/ 1007523 h 2079137"/>
              <a:gd name="connsiteX46" fmla="*/ 9271941 w 12192000"/>
              <a:gd name="connsiteY46" fmla="*/ 1002839 h 2079137"/>
              <a:gd name="connsiteX47" fmla="*/ 9238227 w 12192000"/>
              <a:gd name="connsiteY47" fmla="*/ 1017668 h 2079137"/>
              <a:gd name="connsiteX48" fmla="*/ 9184265 w 12192000"/>
              <a:gd name="connsiteY48" fmla="*/ 1031275 h 2079137"/>
              <a:gd name="connsiteX49" fmla="*/ 9159000 w 12192000"/>
              <a:gd name="connsiteY49" fmla="*/ 1039569 h 2079137"/>
              <a:gd name="connsiteX50" fmla="*/ 9137031 w 12192000"/>
              <a:gd name="connsiteY50" fmla="*/ 1038699 h 2079137"/>
              <a:gd name="connsiteX51" fmla="*/ 9015702 w 12192000"/>
              <a:gd name="connsiteY51" fmla="*/ 1051400 h 2079137"/>
              <a:gd name="connsiteX52" fmla="*/ 8971403 w 12192000"/>
              <a:gd name="connsiteY52" fmla="*/ 1040542 h 2079137"/>
              <a:gd name="connsiteX53" fmla="*/ 8961826 w 12192000"/>
              <a:gd name="connsiteY53" fmla="*/ 1045364 h 2079137"/>
              <a:gd name="connsiteX54" fmla="*/ 8888623 w 12192000"/>
              <a:gd name="connsiteY54" fmla="*/ 1053908 h 2079137"/>
              <a:gd name="connsiteX55" fmla="*/ 8841066 w 12192000"/>
              <a:gd name="connsiteY55" fmla="*/ 1060421 h 2079137"/>
              <a:gd name="connsiteX56" fmla="*/ 8752342 w 12192000"/>
              <a:gd name="connsiteY56" fmla="*/ 1080646 h 2079137"/>
              <a:gd name="connsiteX57" fmla="*/ 8699139 w 12192000"/>
              <a:gd name="connsiteY57" fmla="*/ 1087885 h 2079137"/>
              <a:gd name="connsiteX58" fmla="*/ 8667273 w 12192000"/>
              <a:gd name="connsiteY58" fmla="*/ 1092062 h 2079137"/>
              <a:gd name="connsiteX59" fmla="*/ 8586064 w 12192000"/>
              <a:gd name="connsiteY59" fmla="*/ 1114603 h 2079137"/>
              <a:gd name="connsiteX60" fmla="*/ 8460312 w 12192000"/>
              <a:gd name="connsiteY60" fmla="*/ 1179878 h 2079137"/>
              <a:gd name="connsiteX61" fmla="*/ 8419023 w 12192000"/>
              <a:gd name="connsiteY61" fmla="*/ 1191748 h 2079137"/>
              <a:gd name="connsiteX62" fmla="*/ 8410939 w 12192000"/>
              <a:gd name="connsiteY62" fmla="*/ 1189696 h 2079137"/>
              <a:gd name="connsiteX63" fmla="*/ 8362040 w 12192000"/>
              <a:gd name="connsiteY63" fmla="*/ 1220820 h 2079137"/>
              <a:gd name="connsiteX64" fmla="*/ 8273677 w 12192000"/>
              <a:gd name="connsiteY64" fmla="*/ 1236495 h 2079137"/>
              <a:gd name="connsiteX65" fmla="*/ 8204283 w 12192000"/>
              <a:gd name="connsiteY65" fmla="*/ 1243537 h 2079137"/>
              <a:gd name="connsiteX66" fmla="*/ 8166550 w 12192000"/>
              <a:gd name="connsiteY66" fmla="*/ 1249551 h 2079137"/>
              <a:gd name="connsiteX67" fmla="*/ 8137785 w 12192000"/>
              <a:gd name="connsiteY67" fmla="*/ 1251636 h 2079137"/>
              <a:gd name="connsiteX68" fmla="*/ 8071596 w 12192000"/>
              <a:gd name="connsiteY68" fmla="*/ 1269274 h 2079137"/>
              <a:gd name="connsiteX69" fmla="*/ 7964816 w 12192000"/>
              <a:gd name="connsiteY69" fmla="*/ 1303668 h 2079137"/>
              <a:gd name="connsiteX70" fmla="*/ 7941495 w 12192000"/>
              <a:gd name="connsiteY70" fmla="*/ 1309821 h 2079137"/>
              <a:gd name="connsiteX71" fmla="*/ 7919123 w 12192000"/>
              <a:gd name="connsiteY71" fmla="*/ 1310466 h 2079137"/>
              <a:gd name="connsiteX72" fmla="*/ 7911902 w 12192000"/>
              <a:gd name="connsiteY72" fmla="*/ 1306569 h 2079137"/>
              <a:gd name="connsiteX73" fmla="*/ 7898703 w 12192000"/>
              <a:gd name="connsiteY73" fmla="*/ 1309208 h 2079137"/>
              <a:gd name="connsiteX74" fmla="*/ 7894703 w 12192000"/>
              <a:gd name="connsiteY74" fmla="*/ 1308939 h 2079137"/>
              <a:gd name="connsiteX75" fmla="*/ 7872267 w 12192000"/>
              <a:gd name="connsiteY75" fmla="*/ 1308370 h 2079137"/>
              <a:gd name="connsiteX76" fmla="*/ 7836454 w 12192000"/>
              <a:gd name="connsiteY76" fmla="*/ 1331265 h 2079137"/>
              <a:gd name="connsiteX77" fmla="*/ 7782451 w 12192000"/>
              <a:gd name="connsiteY77" fmla="*/ 1339601 h 2079137"/>
              <a:gd name="connsiteX78" fmla="*/ 7542969 w 12192000"/>
              <a:gd name="connsiteY78" fmla="*/ 1372495 h 2079137"/>
              <a:gd name="connsiteX79" fmla="*/ 7476832 w 12192000"/>
              <a:gd name="connsiteY79" fmla="*/ 1431655 h 2079137"/>
              <a:gd name="connsiteX80" fmla="*/ 7370237 w 12192000"/>
              <a:gd name="connsiteY80" fmla="*/ 1474339 h 2079137"/>
              <a:gd name="connsiteX81" fmla="*/ 7222223 w 12192000"/>
              <a:gd name="connsiteY81" fmla="*/ 1510199 h 2079137"/>
              <a:gd name="connsiteX82" fmla="*/ 7215703 w 12192000"/>
              <a:gd name="connsiteY82" fmla="*/ 1520424 h 2079137"/>
              <a:gd name="connsiteX83" fmla="*/ 7204548 w 12192000"/>
              <a:gd name="connsiteY83" fmla="*/ 1528145 h 2079137"/>
              <a:gd name="connsiteX84" fmla="*/ 7202038 w 12192000"/>
              <a:gd name="connsiteY84" fmla="*/ 1527954 h 2079137"/>
              <a:gd name="connsiteX85" fmla="*/ 7173860 w 12192000"/>
              <a:gd name="connsiteY85" fmla="*/ 1541605 h 2079137"/>
              <a:gd name="connsiteX86" fmla="*/ 7155079 w 12192000"/>
              <a:gd name="connsiteY86" fmla="*/ 1552495 h 2079137"/>
              <a:gd name="connsiteX87" fmla="*/ 7149757 w 12192000"/>
              <a:gd name="connsiteY87" fmla="*/ 1552732 h 2079137"/>
              <a:gd name="connsiteX88" fmla="*/ 7104804 w 12192000"/>
              <a:gd name="connsiteY88" fmla="*/ 1565792 h 2079137"/>
              <a:gd name="connsiteX89" fmla="*/ 7082824 w 12192000"/>
              <a:gd name="connsiteY89" fmla="*/ 1567947 h 2079137"/>
              <a:gd name="connsiteX90" fmla="*/ 7021520 w 12192000"/>
              <a:gd name="connsiteY90" fmla="*/ 1562334 h 2079137"/>
              <a:gd name="connsiteX91" fmla="*/ 6988956 w 12192000"/>
              <a:gd name="connsiteY91" fmla="*/ 1576442 h 2079137"/>
              <a:gd name="connsiteX92" fmla="*/ 6981922 w 12192000"/>
              <a:gd name="connsiteY92" fmla="*/ 1578821 h 2079137"/>
              <a:gd name="connsiteX93" fmla="*/ 6981583 w 12192000"/>
              <a:gd name="connsiteY93" fmla="*/ 1578678 h 2079137"/>
              <a:gd name="connsiteX94" fmla="*/ 6973762 w 12192000"/>
              <a:gd name="connsiteY94" fmla="*/ 1580811 h 2079137"/>
              <a:gd name="connsiteX95" fmla="*/ 6969093 w 12192000"/>
              <a:gd name="connsiteY95" fmla="*/ 1583157 h 2079137"/>
              <a:gd name="connsiteX96" fmla="*/ 6890037 w 12192000"/>
              <a:gd name="connsiteY96" fmla="*/ 1575825 h 2079137"/>
              <a:gd name="connsiteX97" fmla="*/ 6785054 w 12192000"/>
              <a:gd name="connsiteY97" fmla="*/ 1582200 h 2079137"/>
              <a:gd name="connsiteX98" fmla="*/ 6681692 w 12192000"/>
              <a:gd name="connsiteY98" fmla="*/ 1591296 h 2079137"/>
              <a:gd name="connsiteX99" fmla="*/ 6644556 w 12192000"/>
              <a:gd name="connsiteY99" fmla="*/ 1595940 h 2079137"/>
              <a:gd name="connsiteX100" fmla="*/ 6577106 w 12192000"/>
              <a:gd name="connsiteY100" fmla="*/ 1598261 h 2079137"/>
              <a:gd name="connsiteX101" fmla="*/ 6544183 w 12192000"/>
              <a:gd name="connsiteY101" fmla="*/ 1596149 h 2079137"/>
              <a:gd name="connsiteX102" fmla="*/ 6540921 w 12192000"/>
              <a:gd name="connsiteY102" fmla="*/ 1593857 h 2079137"/>
              <a:gd name="connsiteX103" fmla="*/ 6535046 w 12192000"/>
              <a:gd name="connsiteY103" fmla="*/ 1593283 h 2079137"/>
              <a:gd name="connsiteX104" fmla="*/ 6519853 w 12192000"/>
              <a:gd name="connsiteY104" fmla="*/ 1595771 h 2079137"/>
              <a:gd name="connsiteX105" fmla="*/ 6514280 w 12192000"/>
              <a:gd name="connsiteY105" fmla="*/ 1597376 h 2079137"/>
              <a:gd name="connsiteX106" fmla="*/ 6505824 w 12192000"/>
              <a:gd name="connsiteY106" fmla="*/ 1598298 h 2079137"/>
              <a:gd name="connsiteX107" fmla="*/ 6505573 w 12192000"/>
              <a:gd name="connsiteY107" fmla="*/ 1598109 h 2079137"/>
              <a:gd name="connsiteX108" fmla="*/ 6497741 w 12192000"/>
              <a:gd name="connsiteY108" fmla="*/ 1599392 h 2079137"/>
              <a:gd name="connsiteX109" fmla="*/ 6459992 w 12192000"/>
              <a:gd name="connsiteY109" fmla="*/ 1608358 h 2079137"/>
              <a:gd name="connsiteX110" fmla="*/ 6404572 w 12192000"/>
              <a:gd name="connsiteY110" fmla="*/ 1593771 h 2079137"/>
              <a:gd name="connsiteX111" fmla="*/ 6382671 w 12192000"/>
              <a:gd name="connsiteY111" fmla="*/ 1592612 h 2079137"/>
              <a:gd name="connsiteX112" fmla="*/ 6369843 w 12192000"/>
              <a:gd name="connsiteY112" fmla="*/ 1590015 h 2079137"/>
              <a:gd name="connsiteX113" fmla="*/ 6269740 w 12192000"/>
              <a:gd name="connsiteY113" fmla="*/ 1614633 h 2079137"/>
              <a:gd name="connsiteX114" fmla="*/ 6255405 w 12192000"/>
              <a:gd name="connsiteY114" fmla="*/ 1620529 h 2079137"/>
              <a:gd name="connsiteX115" fmla="*/ 6244248 w 12192000"/>
              <a:gd name="connsiteY115" fmla="*/ 1629561 h 2079137"/>
              <a:gd name="connsiteX116" fmla="*/ 6086396 w 12192000"/>
              <a:gd name="connsiteY116" fmla="*/ 1642666 h 2079137"/>
              <a:gd name="connsiteX117" fmla="*/ 5867429 w 12192000"/>
              <a:gd name="connsiteY117" fmla="*/ 1695554 h 2079137"/>
              <a:gd name="connsiteX118" fmla="*/ 5772864 w 12192000"/>
              <a:gd name="connsiteY118" fmla="*/ 1689002 h 2079137"/>
              <a:gd name="connsiteX119" fmla="*/ 5629833 w 12192000"/>
              <a:gd name="connsiteY119" fmla="*/ 1713273 h 2079137"/>
              <a:gd name="connsiteX120" fmla="*/ 5504771 w 12192000"/>
              <a:gd name="connsiteY120" fmla="*/ 1725744 h 2079137"/>
              <a:gd name="connsiteX121" fmla="*/ 5490967 w 12192000"/>
              <a:gd name="connsiteY121" fmla="*/ 1726367 h 2079137"/>
              <a:gd name="connsiteX122" fmla="*/ 5486015 w 12192000"/>
              <a:gd name="connsiteY122" fmla="*/ 1721481 h 2079137"/>
              <a:gd name="connsiteX123" fmla="*/ 5439364 w 12192000"/>
              <a:gd name="connsiteY123" fmla="*/ 1721349 h 2079137"/>
              <a:gd name="connsiteX124" fmla="*/ 5350025 w 12192000"/>
              <a:gd name="connsiteY124" fmla="*/ 1729885 h 2079137"/>
              <a:gd name="connsiteX125" fmla="*/ 5336104 w 12192000"/>
              <a:gd name="connsiteY125" fmla="*/ 1734377 h 2079137"/>
              <a:gd name="connsiteX126" fmla="*/ 5245234 w 12192000"/>
              <a:gd name="connsiteY126" fmla="*/ 1738520 h 2079137"/>
              <a:gd name="connsiteX127" fmla="*/ 5182955 w 12192000"/>
              <a:gd name="connsiteY127" fmla="*/ 1744622 h 2079137"/>
              <a:gd name="connsiteX128" fmla="*/ 5169506 w 12192000"/>
              <a:gd name="connsiteY128" fmla="*/ 1748993 h 2079137"/>
              <a:gd name="connsiteX129" fmla="*/ 5154299 w 12192000"/>
              <a:gd name="connsiteY129" fmla="*/ 1744080 h 2079137"/>
              <a:gd name="connsiteX130" fmla="*/ 5149917 w 12192000"/>
              <a:gd name="connsiteY130" fmla="*/ 1739727 h 2079137"/>
              <a:gd name="connsiteX131" fmla="*/ 5100319 w 12192000"/>
              <a:gd name="connsiteY131" fmla="*/ 1745797 h 2079137"/>
              <a:gd name="connsiteX132" fmla="*/ 5094361 w 12192000"/>
              <a:gd name="connsiteY132" fmla="*/ 1745767 h 2079137"/>
              <a:gd name="connsiteX133" fmla="*/ 5053410 w 12192000"/>
              <a:gd name="connsiteY133" fmla="*/ 1742790 h 2079137"/>
              <a:gd name="connsiteX134" fmla="*/ 4992711 w 12192000"/>
              <a:gd name="connsiteY134" fmla="*/ 1734075 h 2079137"/>
              <a:gd name="connsiteX135" fmla="*/ 4930098 w 12192000"/>
              <a:gd name="connsiteY135" fmla="*/ 1717312 h 2079137"/>
              <a:gd name="connsiteX136" fmla="*/ 4893834 w 12192000"/>
              <a:gd name="connsiteY136" fmla="*/ 1710028 h 2079137"/>
              <a:gd name="connsiteX137" fmla="*/ 4868730 w 12192000"/>
              <a:gd name="connsiteY137" fmla="*/ 1702384 h 2079137"/>
              <a:gd name="connsiteX138" fmla="*/ 4797925 w 12192000"/>
              <a:gd name="connsiteY138" fmla="*/ 1695535 h 2079137"/>
              <a:gd name="connsiteX139" fmla="*/ 4677670 w 12192000"/>
              <a:gd name="connsiteY139" fmla="*/ 1689453 h 2079137"/>
              <a:gd name="connsiteX140" fmla="*/ 4634248 w 12192000"/>
              <a:gd name="connsiteY140" fmla="*/ 1680227 h 2079137"/>
              <a:gd name="connsiteX141" fmla="*/ 4632434 w 12192000"/>
              <a:gd name="connsiteY141" fmla="*/ 1674607 h 2079137"/>
              <a:gd name="connsiteX142" fmla="*/ 4619204 w 12192000"/>
              <a:gd name="connsiteY142" fmla="*/ 1672507 h 2079137"/>
              <a:gd name="connsiteX143" fmla="*/ 4616283 w 12192000"/>
              <a:gd name="connsiteY143" fmla="*/ 1670977 h 2079137"/>
              <a:gd name="connsiteX144" fmla="*/ 4598926 w 12192000"/>
              <a:gd name="connsiteY144" fmla="*/ 1663178 h 2079137"/>
              <a:gd name="connsiteX145" fmla="*/ 4547069 w 12192000"/>
              <a:gd name="connsiteY145" fmla="*/ 1670642 h 2079137"/>
              <a:gd name="connsiteX146" fmla="*/ 4523516 w 12192000"/>
              <a:gd name="connsiteY146" fmla="*/ 1669785 h 2079137"/>
              <a:gd name="connsiteX147" fmla="*/ 4500586 w 12192000"/>
              <a:gd name="connsiteY147" fmla="*/ 1675912 h 2079137"/>
              <a:gd name="connsiteX148" fmla="*/ 4488196 w 12192000"/>
              <a:gd name="connsiteY148" fmla="*/ 1683463 h 2079137"/>
              <a:gd name="connsiteX149" fmla="*/ 4445463 w 12192000"/>
              <a:gd name="connsiteY149" fmla="*/ 1695634 h 2079137"/>
              <a:gd name="connsiteX150" fmla="*/ 4446550 w 12192000"/>
              <a:gd name="connsiteY150" fmla="*/ 1680538 h 2079137"/>
              <a:gd name="connsiteX151" fmla="*/ 4365375 w 12192000"/>
              <a:gd name="connsiteY151" fmla="*/ 1697935 h 2079137"/>
              <a:gd name="connsiteX152" fmla="*/ 4305123 w 12192000"/>
              <a:gd name="connsiteY152" fmla="*/ 1714185 h 2079137"/>
              <a:gd name="connsiteX153" fmla="*/ 4292665 w 12192000"/>
              <a:gd name="connsiteY153" fmla="*/ 1720703 h 2079137"/>
              <a:gd name="connsiteX154" fmla="*/ 4276789 w 12192000"/>
              <a:gd name="connsiteY154" fmla="*/ 1718367 h 2079137"/>
              <a:gd name="connsiteX155" fmla="*/ 4271683 w 12192000"/>
              <a:gd name="connsiteY155" fmla="*/ 1714801 h 2079137"/>
              <a:gd name="connsiteX156" fmla="*/ 4223918 w 12192000"/>
              <a:gd name="connsiteY156" fmla="*/ 1728936 h 2079137"/>
              <a:gd name="connsiteX157" fmla="*/ 4218039 w 12192000"/>
              <a:gd name="connsiteY157" fmla="*/ 1729885 h 2079137"/>
              <a:gd name="connsiteX158" fmla="*/ 4177153 w 12192000"/>
              <a:gd name="connsiteY158" fmla="*/ 1733691 h 2079137"/>
              <a:gd name="connsiteX159" fmla="*/ 4051032 w 12192000"/>
              <a:gd name="connsiteY159" fmla="*/ 1728886 h 2079137"/>
              <a:gd name="connsiteX160" fmla="*/ 4013978 w 12192000"/>
              <a:gd name="connsiteY160" fmla="*/ 1727679 h 2079137"/>
              <a:gd name="connsiteX161" fmla="*/ 3987857 w 12192000"/>
              <a:gd name="connsiteY161" fmla="*/ 1724282 h 2079137"/>
              <a:gd name="connsiteX162" fmla="*/ 3916852 w 12192000"/>
              <a:gd name="connsiteY162" fmla="*/ 1729184 h 2079137"/>
              <a:gd name="connsiteX163" fmla="*/ 3797263 w 12192000"/>
              <a:gd name="connsiteY163" fmla="*/ 1742976 h 2079137"/>
              <a:gd name="connsiteX164" fmla="*/ 3752806 w 12192000"/>
              <a:gd name="connsiteY164" fmla="*/ 1741033 h 2079137"/>
              <a:gd name="connsiteX165" fmla="*/ 3749997 w 12192000"/>
              <a:gd name="connsiteY165" fmla="*/ 1735799 h 2079137"/>
              <a:gd name="connsiteX166" fmla="*/ 3736582 w 12192000"/>
              <a:gd name="connsiteY166" fmla="*/ 1735907 h 2079137"/>
              <a:gd name="connsiteX167" fmla="*/ 3733428 w 12192000"/>
              <a:gd name="connsiteY167" fmla="*/ 1734881 h 2079137"/>
              <a:gd name="connsiteX168" fmla="*/ 3714911 w 12192000"/>
              <a:gd name="connsiteY168" fmla="*/ 1730056 h 2079137"/>
              <a:gd name="connsiteX169" fmla="*/ 3665172 w 12192000"/>
              <a:gd name="connsiteY169" fmla="*/ 1745936 h 2079137"/>
              <a:gd name="connsiteX170" fmla="*/ 3552006 w 12192000"/>
              <a:gd name="connsiteY170" fmla="*/ 1755220 h 2079137"/>
              <a:gd name="connsiteX171" fmla="*/ 3390301 w 12192000"/>
              <a:gd name="connsiteY171" fmla="*/ 1762546 h 2079137"/>
              <a:gd name="connsiteX172" fmla="*/ 3264312 w 12192000"/>
              <a:gd name="connsiteY172" fmla="*/ 1774620 h 2079137"/>
              <a:gd name="connsiteX173" fmla="*/ 3106901 w 12192000"/>
              <a:gd name="connsiteY173" fmla="*/ 1804264 h 2079137"/>
              <a:gd name="connsiteX174" fmla="*/ 2993303 w 12192000"/>
              <a:gd name="connsiteY174" fmla="*/ 1806542 h 2079137"/>
              <a:gd name="connsiteX175" fmla="*/ 2979115 w 12192000"/>
              <a:gd name="connsiteY175" fmla="*/ 1815432 h 2079137"/>
              <a:gd name="connsiteX176" fmla="*/ 2963118 w 12192000"/>
              <a:gd name="connsiteY176" fmla="*/ 1820962 h 2079137"/>
              <a:gd name="connsiteX177" fmla="*/ 2961156 w 12192000"/>
              <a:gd name="connsiteY177" fmla="*/ 1820297 h 2079137"/>
              <a:gd name="connsiteX178" fmla="*/ 2925719 w 12192000"/>
              <a:gd name="connsiteY178" fmla="*/ 1828468 h 2079137"/>
              <a:gd name="connsiteX179" fmla="*/ 2857951 w 12192000"/>
              <a:gd name="connsiteY179" fmla="*/ 1842496 h 2079137"/>
              <a:gd name="connsiteX180" fmla="*/ 2857427 w 12192000"/>
              <a:gd name="connsiteY180" fmla="*/ 1841591 h 2079137"/>
              <a:gd name="connsiteX181" fmla="*/ 2846731 w 12192000"/>
              <a:gd name="connsiteY181" fmla="*/ 1839316 h 2079137"/>
              <a:gd name="connsiteX182" fmla="*/ 2826290 w 12192000"/>
              <a:gd name="connsiteY182" fmla="*/ 1837274 h 2079137"/>
              <a:gd name="connsiteX183" fmla="*/ 2779146 w 12192000"/>
              <a:gd name="connsiteY183" fmla="*/ 1820071 h 2079137"/>
              <a:gd name="connsiteX184" fmla="*/ 2739608 w 12192000"/>
              <a:gd name="connsiteY184" fmla="*/ 1827861 h 2079137"/>
              <a:gd name="connsiteX185" fmla="*/ 2731631 w 12192000"/>
              <a:gd name="connsiteY185" fmla="*/ 1828881 h 2079137"/>
              <a:gd name="connsiteX186" fmla="*/ 2731464 w 12192000"/>
              <a:gd name="connsiteY186" fmla="*/ 1828677 h 2079137"/>
              <a:gd name="connsiteX187" fmla="*/ 2723037 w 12192000"/>
              <a:gd name="connsiteY187" fmla="*/ 1829303 h 2079137"/>
              <a:gd name="connsiteX188" fmla="*/ 2701616 w 12192000"/>
              <a:gd name="connsiteY188" fmla="*/ 1832725 h 2079137"/>
              <a:gd name="connsiteX189" fmla="*/ 2696239 w 12192000"/>
              <a:gd name="connsiteY189" fmla="*/ 1831904 h 2079137"/>
              <a:gd name="connsiteX190" fmla="*/ 2663445 w 12192000"/>
              <a:gd name="connsiteY190" fmla="*/ 1825958 h 2079137"/>
              <a:gd name="connsiteX191" fmla="*/ 2560925 w 12192000"/>
              <a:gd name="connsiteY191" fmla="*/ 1829094 h 2079137"/>
              <a:gd name="connsiteX192" fmla="*/ 2458739 w 12192000"/>
              <a:gd name="connsiteY192" fmla="*/ 1834479 h 2079137"/>
              <a:gd name="connsiteX193" fmla="*/ 2356074 w 12192000"/>
              <a:gd name="connsiteY193" fmla="*/ 1836991 h 2079137"/>
              <a:gd name="connsiteX194" fmla="*/ 2304241 w 12192000"/>
              <a:gd name="connsiteY194" fmla="*/ 1822021 h 2079137"/>
              <a:gd name="connsiteX195" fmla="*/ 2298362 w 12192000"/>
              <a:gd name="connsiteY195" fmla="*/ 1822125 h 2079137"/>
              <a:gd name="connsiteX196" fmla="*/ 2283527 w 12192000"/>
              <a:gd name="connsiteY196" fmla="*/ 1826361 h 2079137"/>
              <a:gd name="connsiteX197" fmla="*/ 2278150 w 12192000"/>
              <a:gd name="connsiteY197" fmla="*/ 1828604 h 2079137"/>
              <a:gd name="connsiteX198" fmla="*/ 2269853 w 12192000"/>
              <a:gd name="connsiteY198" fmla="*/ 1830502 h 2079137"/>
              <a:gd name="connsiteX199" fmla="*/ 2269585 w 12192000"/>
              <a:gd name="connsiteY199" fmla="*/ 1830341 h 2079137"/>
              <a:gd name="connsiteX200" fmla="*/ 2225332 w 12192000"/>
              <a:gd name="connsiteY200" fmla="*/ 1845825 h 2079137"/>
              <a:gd name="connsiteX201" fmla="*/ 2169048 w 12192000"/>
              <a:gd name="connsiteY201" fmla="*/ 1837658 h 2079137"/>
              <a:gd name="connsiteX202" fmla="*/ 2147231 w 12192000"/>
              <a:gd name="connsiteY202" fmla="*/ 1839027 h 2079137"/>
              <a:gd name="connsiteX203" fmla="*/ 2135241 w 12192000"/>
              <a:gd name="connsiteY203" fmla="*/ 1838652 h 2079137"/>
              <a:gd name="connsiteX204" fmla="*/ 2099215 w 12192000"/>
              <a:gd name="connsiteY204" fmla="*/ 1850768 h 2079137"/>
              <a:gd name="connsiteX205" fmla="*/ 2094046 w 12192000"/>
              <a:gd name="connsiteY205" fmla="*/ 1850806 h 2079137"/>
              <a:gd name="connsiteX206" fmla="*/ 2071850 w 12192000"/>
              <a:gd name="connsiteY206" fmla="*/ 1861319 h 2079137"/>
              <a:gd name="connsiteX207" fmla="*/ 2039607 w 12192000"/>
              <a:gd name="connsiteY207" fmla="*/ 1874318 h 2079137"/>
              <a:gd name="connsiteX208" fmla="*/ 2037289 w 12192000"/>
              <a:gd name="connsiteY208" fmla="*/ 1874025 h 2079137"/>
              <a:gd name="connsiteX209" fmla="*/ 2023615 w 12192000"/>
              <a:gd name="connsiteY209" fmla="*/ 1881562 h 2079137"/>
              <a:gd name="connsiteX210" fmla="*/ 1957176 w 12192000"/>
              <a:gd name="connsiteY210" fmla="*/ 1898709 h 2079137"/>
              <a:gd name="connsiteX211" fmla="*/ 1858081 w 12192000"/>
              <a:gd name="connsiteY211" fmla="*/ 1923144 h 2079137"/>
              <a:gd name="connsiteX212" fmla="*/ 1738865 w 12192000"/>
              <a:gd name="connsiteY212" fmla="*/ 1944965 h 2079137"/>
              <a:gd name="connsiteX213" fmla="*/ 1616692 w 12192000"/>
              <a:gd name="connsiteY213" fmla="*/ 1989107 h 2079137"/>
              <a:gd name="connsiteX214" fmla="*/ 1411898 w 12192000"/>
              <a:gd name="connsiteY214" fmla="*/ 2046254 h 2079137"/>
              <a:gd name="connsiteX215" fmla="*/ 1375780 w 12192000"/>
              <a:gd name="connsiteY215" fmla="*/ 2047961 h 2079137"/>
              <a:gd name="connsiteX216" fmla="*/ 1375707 w 12192000"/>
              <a:gd name="connsiteY216" fmla="*/ 2047981 h 2079137"/>
              <a:gd name="connsiteX217" fmla="*/ 1285585 w 12192000"/>
              <a:gd name="connsiteY217" fmla="*/ 2047113 h 2079137"/>
              <a:gd name="connsiteX218" fmla="*/ 1263658 w 12192000"/>
              <a:gd name="connsiteY218" fmla="*/ 2041397 h 2079137"/>
              <a:gd name="connsiteX219" fmla="*/ 1170403 w 12192000"/>
              <a:gd name="connsiteY219" fmla="*/ 2033399 h 2079137"/>
              <a:gd name="connsiteX220" fmla="*/ 1153718 w 12192000"/>
              <a:gd name="connsiteY220" fmla="*/ 2029576 h 2079137"/>
              <a:gd name="connsiteX221" fmla="*/ 1133937 w 12192000"/>
              <a:gd name="connsiteY221" fmla="*/ 2032149 h 2079137"/>
              <a:gd name="connsiteX222" fmla="*/ 1054999 w 12192000"/>
              <a:gd name="connsiteY222" fmla="*/ 2043242 h 2079137"/>
              <a:gd name="connsiteX223" fmla="*/ 1018405 w 12192000"/>
              <a:gd name="connsiteY223" fmla="*/ 2048281 h 2079137"/>
              <a:gd name="connsiteX224" fmla="*/ 1016563 w 12192000"/>
              <a:gd name="connsiteY224" fmla="*/ 2051718 h 2079137"/>
              <a:gd name="connsiteX225" fmla="*/ 1008284 w 12192000"/>
              <a:gd name="connsiteY225" fmla="*/ 2046742 h 2079137"/>
              <a:gd name="connsiteX226" fmla="*/ 981974 w 12192000"/>
              <a:gd name="connsiteY226" fmla="*/ 2048363 h 2079137"/>
              <a:gd name="connsiteX227" fmla="*/ 971903 w 12192000"/>
              <a:gd name="connsiteY227" fmla="*/ 2053484 h 2079137"/>
              <a:gd name="connsiteX228" fmla="*/ 954015 w 12192000"/>
              <a:gd name="connsiteY228" fmla="*/ 2052529 h 2079137"/>
              <a:gd name="connsiteX229" fmla="*/ 839571 w 12192000"/>
              <a:gd name="connsiteY229" fmla="*/ 2046509 h 2079137"/>
              <a:gd name="connsiteX230" fmla="*/ 823321 w 12192000"/>
              <a:gd name="connsiteY230" fmla="*/ 2054296 h 2079137"/>
              <a:gd name="connsiteX231" fmla="*/ 800990 w 12192000"/>
              <a:gd name="connsiteY231" fmla="*/ 2051523 h 2079137"/>
              <a:gd name="connsiteX232" fmla="*/ 776439 w 12192000"/>
              <a:gd name="connsiteY232" fmla="*/ 2062634 h 2079137"/>
              <a:gd name="connsiteX233" fmla="*/ 763041 w 12192000"/>
              <a:gd name="connsiteY233" fmla="*/ 2063995 h 2079137"/>
              <a:gd name="connsiteX234" fmla="*/ 757863 w 12192000"/>
              <a:gd name="connsiteY234" fmla="*/ 2065877 h 2079137"/>
              <a:gd name="connsiteX235" fmla="*/ 745053 w 12192000"/>
              <a:gd name="connsiteY235" fmla="*/ 2051831 h 2079137"/>
              <a:gd name="connsiteX236" fmla="*/ 722609 w 12192000"/>
              <a:gd name="connsiteY236" fmla="*/ 2049504 h 2079137"/>
              <a:gd name="connsiteX237" fmla="*/ 717618 w 12192000"/>
              <a:gd name="connsiteY237" fmla="*/ 2042131 h 2079137"/>
              <a:gd name="connsiteX238" fmla="*/ 703285 w 12192000"/>
              <a:gd name="connsiteY238" fmla="*/ 2046808 h 2079137"/>
              <a:gd name="connsiteX239" fmla="*/ 680199 w 12192000"/>
              <a:gd name="connsiteY239" fmla="*/ 2051947 h 2079137"/>
              <a:gd name="connsiteX240" fmla="*/ 667351 w 12192000"/>
              <a:gd name="connsiteY240" fmla="*/ 2054469 h 2079137"/>
              <a:gd name="connsiteX241" fmla="*/ 660961 w 12192000"/>
              <a:gd name="connsiteY241" fmla="*/ 2049404 h 2079137"/>
              <a:gd name="connsiteX242" fmla="*/ 638282 w 12192000"/>
              <a:gd name="connsiteY242" fmla="*/ 2060093 h 2079137"/>
              <a:gd name="connsiteX243" fmla="*/ 583551 w 12192000"/>
              <a:gd name="connsiteY243" fmla="*/ 2070197 h 2079137"/>
              <a:gd name="connsiteX244" fmla="*/ 525274 w 12192000"/>
              <a:gd name="connsiteY244" fmla="*/ 2079137 h 2079137"/>
              <a:gd name="connsiteX245" fmla="*/ 405635 w 12192000"/>
              <a:gd name="connsiteY245" fmla="*/ 2059339 h 2079137"/>
              <a:gd name="connsiteX246" fmla="*/ 281555 w 12192000"/>
              <a:gd name="connsiteY246" fmla="*/ 2022847 h 2079137"/>
              <a:gd name="connsiteX247" fmla="*/ 98513 w 12192000"/>
              <a:gd name="connsiteY247" fmla="*/ 1969504 h 2079137"/>
              <a:gd name="connsiteX248" fmla="*/ 56191 w 12192000"/>
              <a:gd name="connsiteY248" fmla="*/ 1950709 h 2079137"/>
              <a:gd name="connsiteX249" fmla="*/ 0 w 12192000"/>
              <a:gd name="connsiteY249" fmla="*/ 1935789 h 20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2192000" h="2079137">
                <a:moveTo>
                  <a:pt x="12160143" y="831692"/>
                </a:moveTo>
                <a:lnTo>
                  <a:pt x="12159112" y="833361"/>
                </a:lnTo>
                <a:cubicBezTo>
                  <a:pt x="12157915" y="833832"/>
                  <a:pt x="12157402" y="833649"/>
                  <a:pt x="12158912" y="832430"/>
                </a:cubicBezTo>
                <a:close/>
                <a:moveTo>
                  <a:pt x="0" y="0"/>
                </a:moveTo>
                <a:lnTo>
                  <a:pt x="12192000" y="0"/>
                </a:lnTo>
                <a:lnTo>
                  <a:pt x="12192000" y="558063"/>
                </a:lnTo>
                <a:lnTo>
                  <a:pt x="12189259" y="810508"/>
                </a:lnTo>
                <a:lnTo>
                  <a:pt x="12170847" y="825280"/>
                </a:lnTo>
                <a:lnTo>
                  <a:pt x="12160143" y="831692"/>
                </a:lnTo>
                <a:lnTo>
                  <a:pt x="12163806" y="825759"/>
                </a:lnTo>
                <a:cubicBezTo>
                  <a:pt x="12125449" y="821525"/>
                  <a:pt x="12082203" y="824698"/>
                  <a:pt x="12056557" y="810176"/>
                </a:cubicBezTo>
                <a:cubicBezTo>
                  <a:pt x="12050902" y="790976"/>
                  <a:pt x="11923731" y="799312"/>
                  <a:pt x="11900316" y="789618"/>
                </a:cubicBezTo>
                <a:cubicBezTo>
                  <a:pt x="11841702" y="803374"/>
                  <a:pt x="11823963" y="832645"/>
                  <a:pt x="11791206" y="824176"/>
                </a:cubicBezTo>
                <a:cubicBezTo>
                  <a:pt x="11768977" y="817380"/>
                  <a:pt x="11683857" y="828947"/>
                  <a:pt x="11659257" y="800841"/>
                </a:cubicBezTo>
                <a:cubicBezTo>
                  <a:pt x="11617173" y="818107"/>
                  <a:pt x="11602556" y="790694"/>
                  <a:pt x="11569789" y="797135"/>
                </a:cubicBezTo>
                <a:cubicBezTo>
                  <a:pt x="11498310" y="795094"/>
                  <a:pt x="11458472" y="819882"/>
                  <a:pt x="11367885" y="791985"/>
                </a:cubicBezTo>
                <a:cubicBezTo>
                  <a:pt x="11325508" y="798158"/>
                  <a:pt x="11266580" y="755023"/>
                  <a:pt x="11174663" y="788721"/>
                </a:cubicBezTo>
                <a:cubicBezTo>
                  <a:pt x="11122703" y="792192"/>
                  <a:pt x="11150009" y="775410"/>
                  <a:pt x="11068220" y="786994"/>
                </a:cubicBezTo>
                <a:cubicBezTo>
                  <a:pt x="11046931" y="759861"/>
                  <a:pt x="10919185" y="793102"/>
                  <a:pt x="10893266" y="794013"/>
                </a:cubicBezTo>
                <a:cubicBezTo>
                  <a:pt x="10874184" y="776189"/>
                  <a:pt x="10862860" y="788743"/>
                  <a:pt x="10844025" y="789857"/>
                </a:cubicBezTo>
                <a:cubicBezTo>
                  <a:pt x="10836453" y="779294"/>
                  <a:pt x="10820690" y="778184"/>
                  <a:pt x="10814353" y="789010"/>
                </a:cubicBezTo>
                <a:cubicBezTo>
                  <a:pt x="10819669" y="816016"/>
                  <a:pt x="10754019" y="789067"/>
                  <a:pt x="10748393" y="806738"/>
                </a:cubicBezTo>
                <a:cubicBezTo>
                  <a:pt x="10687156" y="807873"/>
                  <a:pt x="10550299" y="781800"/>
                  <a:pt x="10468256" y="778733"/>
                </a:cubicBezTo>
                <a:cubicBezTo>
                  <a:pt x="10436666" y="770025"/>
                  <a:pt x="10371995" y="797252"/>
                  <a:pt x="10256131" y="788332"/>
                </a:cubicBezTo>
                <a:cubicBezTo>
                  <a:pt x="10240995" y="781626"/>
                  <a:pt x="10182664" y="765742"/>
                  <a:pt x="10177442" y="777371"/>
                </a:cubicBezTo>
                <a:cubicBezTo>
                  <a:pt x="10141447" y="775683"/>
                  <a:pt x="10030323" y="810071"/>
                  <a:pt x="10006086" y="792651"/>
                </a:cubicBezTo>
                <a:cubicBezTo>
                  <a:pt x="10009448" y="818833"/>
                  <a:pt x="9960389" y="791426"/>
                  <a:pt x="9952382" y="815411"/>
                </a:cubicBezTo>
                <a:lnTo>
                  <a:pt x="9926457" y="827295"/>
                </a:lnTo>
                <a:lnTo>
                  <a:pt x="9843405" y="867046"/>
                </a:lnTo>
                <a:lnTo>
                  <a:pt x="9830866" y="875047"/>
                </a:lnTo>
                <a:lnTo>
                  <a:pt x="9801807" y="872272"/>
                </a:lnTo>
                <a:lnTo>
                  <a:pt x="9785653" y="861743"/>
                </a:lnTo>
                <a:lnTo>
                  <a:pt x="9781177" y="864820"/>
                </a:lnTo>
                <a:cubicBezTo>
                  <a:pt x="9776153" y="871003"/>
                  <a:pt x="9773556" y="874842"/>
                  <a:pt x="9768640" y="869379"/>
                </a:cubicBezTo>
                <a:lnTo>
                  <a:pt x="9712211" y="900283"/>
                </a:lnTo>
                <a:cubicBezTo>
                  <a:pt x="9706243" y="902750"/>
                  <a:pt x="9698952" y="902954"/>
                  <a:pt x="9689465" y="899268"/>
                </a:cubicBezTo>
                <a:cubicBezTo>
                  <a:pt x="9670819" y="902906"/>
                  <a:pt x="9618108" y="917739"/>
                  <a:pt x="9600339" y="922112"/>
                </a:cubicBezTo>
                <a:lnTo>
                  <a:pt x="9582850" y="925510"/>
                </a:lnTo>
                <a:cubicBezTo>
                  <a:pt x="9574400" y="928631"/>
                  <a:pt x="9556868" y="938130"/>
                  <a:pt x="9549638" y="940845"/>
                </a:cubicBezTo>
                <a:cubicBezTo>
                  <a:pt x="9543792" y="942327"/>
                  <a:pt x="9546812" y="939351"/>
                  <a:pt x="9539471" y="941799"/>
                </a:cubicBezTo>
                <a:cubicBezTo>
                  <a:pt x="9538994" y="947702"/>
                  <a:pt x="9536009" y="953248"/>
                  <a:pt x="9505592" y="955533"/>
                </a:cubicBezTo>
                <a:cubicBezTo>
                  <a:pt x="9486013" y="968563"/>
                  <a:pt x="9460860" y="978842"/>
                  <a:pt x="9432569" y="985377"/>
                </a:cubicBezTo>
                <a:cubicBezTo>
                  <a:pt x="9426990" y="980335"/>
                  <a:pt x="9418918" y="990185"/>
                  <a:pt x="9414216" y="992655"/>
                </a:cubicBezTo>
                <a:cubicBezTo>
                  <a:pt x="9412644" y="989014"/>
                  <a:pt x="9400057" y="989255"/>
                  <a:pt x="9397106" y="992980"/>
                </a:cubicBezTo>
                <a:cubicBezTo>
                  <a:pt x="9314093" y="1020862"/>
                  <a:pt x="9349678" y="978420"/>
                  <a:pt x="9305108" y="1007767"/>
                </a:cubicBezTo>
                <a:cubicBezTo>
                  <a:pt x="9296670" y="1010324"/>
                  <a:pt x="9289251" y="1009612"/>
                  <a:pt x="9282434" y="1007523"/>
                </a:cubicBezTo>
                <a:lnTo>
                  <a:pt x="9271941" y="1002839"/>
                </a:lnTo>
                <a:lnTo>
                  <a:pt x="9238227" y="1017668"/>
                </a:lnTo>
                <a:cubicBezTo>
                  <a:pt x="9221294" y="1023415"/>
                  <a:pt x="9203166" y="1027997"/>
                  <a:pt x="9184265" y="1031275"/>
                </a:cubicBezTo>
                <a:cubicBezTo>
                  <a:pt x="9178371" y="1024135"/>
                  <a:pt x="9165618" y="1036637"/>
                  <a:pt x="9159000" y="1039569"/>
                </a:cubicBezTo>
                <a:cubicBezTo>
                  <a:pt x="9157881" y="1034602"/>
                  <a:pt x="9141725" y="1033964"/>
                  <a:pt x="9137031" y="1038699"/>
                </a:cubicBezTo>
                <a:cubicBezTo>
                  <a:pt x="9023973" y="1069523"/>
                  <a:pt x="9079946" y="1015706"/>
                  <a:pt x="9015702" y="1051400"/>
                </a:cubicBezTo>
                <a:lnTo>
                  <a:pt x="8971403" y="1040542"/>
                </a:lnTo>
                <a:lnTo>
                  <a:pt x="8961826" y="1045364"/>
                </a:lnTo>
                <a:cubicBezTo>
                  <a:pt x="8922837" y="1050010"/>
                  <a:pt x="8909116" y="1040754"/>
                  <a:pt x="8888623" y="1053908"/>
                </a:cubicBezTo>
                <a:cubicBezTo>
                  <a:pt x="8850424" y="1035587"/>
                  <a:pt x="8865892" y="1054194"/>
                  <a:pt x="8841066" y="1060421"/>
                </a:cubicBezTo>
                <a:cubicBezTo>
                  <a:pt x="8818353" y="1064878"/>
                  <a:pt x="8775995" y="1076068"/>
                  <a:pt x="8752342" y="1080646"/>
                </a:cubicBezTo>
                <a:cubicBezTo>
                  <a:pt x="8736966" y="1099406"/>
                  <a:pt x="8723186" y="1079948"/>
                  <a:pt x="8699139" y="1087885"/>
                </a:cubicBezTo>
                <a:cubicBezTo>
                  <a:pt x="8688630" y="1095506"/>
                  <a:pt x="8680324" y="1097539"/>
                  <a:pt x="8667273" y="1092062"/>
                </a:cubicBezTo>
                <a:cubicBezTo>
                  <a:pt x="8619205" y="1128818"/>
                  <a:pt x="8634590" y="1097116"/>
                  <a:pt x="8586064" y="1114603"/>
                </a:cubicBezTo>
                <a:cubicBezTo>
                  <a:pt x="8544721" y="1131913"/>
                  <a:pt x="8496602" y="1145520"/>
                  <a:pt x="8460312" y="1179878"/>
                </a:cubicBezTo>
                <a:cubicBezTo>
                  <a:pt x="8454266" y="1189140"/>
                  <a:pt x="8435781" y="1194455"/>
                  <a:pt x="8419023" y="1191748"/>
                </a:cubicBezTo>
                <a:cubicBezTo>
                  <a:pt x="8416138" y="1191283"/>
                  <a:pt x="8413416" y="1190591"/>
                  <a:pt x="8410939" y="1189696"/>
                </a:cubicBezTo>
                <a:cubicBezTo>
                  <a:pt x="8390077" y="1213458"/>
                  <a:pt x="8370324" y="1205397"/>
                  <a:pt x="8362040" y="1220820"/>
                </a:cubicBezTo>
                <a:cubicBezTo>
                  <a:pt x="8320616" y="1231942"/>
                  <a:pt x="8281663" y="1222882"/>
                  <a:pt x="8273677" y="1236495"/>
                </a:cubicBezTo>
                <a:cubicBezTo>
                  <a:pt x="8251358" y="1238573"/>
                  <a:pt x="8216738" y="1228341"/>
                  <a:pt x="8204283" y="1243537"/>
                </a:cubicBezTo>
                <a:cubicBezTo>
                  <a:pt x="8198634" y="1233135"/>
                  <a:pt x="8181550" y="1254947"/>
                  <a:pt x="8166550" y="1249551"/>
                </a:cubicBezTo>
                <a:cubicBezTo>
                  <a:pt x="8155570" y="1244572"/>
                  <a:pt x="8147825" y="1250027"/>
                  <a:pt x="8137785" y="1251636"/>
                </a:cubicBezTo>
                <a:cubicBezTo>
                  <a:pt x="8123427" y="1248361"/>
                  <a:pt x="8081662" y="1261833"/>
                  <a:pt x="8071596" y="1269274"/>
                </a:cubicBezTo>
                <a:cubicBezTo>
                  <a:pt x="8048949" y="1293759"/>
                  <a:pt x="7983924" y="1284712"/>
                  <a:pt x="7964816" y="1303668"/>
                </a:cubicBezTo>
                <a:cubicBezTo>
                  <a:pt x="7957137" y="1306992"/>
                  <a:pt x="7949335" y="1308861"/>
                  <a:pt x="7941495" y="1309821"/>
                </a:cubicBezTo>
                <a:lnTo>
                  <a:pt x="7919123" y="1310466"/>
                </a:lnTo>
                <a:lnTo>
                  <a:pt x="7911902" y="1306569"/>
                </a:lnTo>
                <a:lnTo>
                  <a:pt x="7898703" y="1309208"/>
                </a:lnTo>
                <a:lnTo>
                  <a:pt x="7894703" y="1308939"/>
                </a:lnTo>
                <a:lnTo>
                  <a:pt x="7872267" y="1308370"/>
                </a:lnTo>
                <a:cubicBezTo>
                  <a:pt x="7886550" y="1330359"/>
                  <a:pt x="7812648" y="1314851"/>
                  <a:pt x="7836454" y="1331265"/>
                </a:cubicBezTo>
                <a:cubicBezTo>
                  <a:pt x="7798907" y="1336933"/>
                  <a:pt x="7831419" y="1351068"/>
                  <a:pt x="7782451" y="1339601"/>
                </a:cubicBezTo>
                <a:cubicBezTo>
                  <a:pt x="7727636" y="1365002"/>
                  <a:pt x="7583002" y="1338768"/>
                  <a:pt x="7542969" y="1372495"/>
                </a:cubicBezTo>
                <a:cubicBezTo>
                  <a:pt x="7546396" y="1360942"/>
                  <a:pt x="7492851" y="1424323"/>
                  <a:pt x="7476832" y="1431655"/>
                </a:cubicBezTo>
                <a:cubicBezTo>
                  <a:pt x="7439619" y="1443703"/>
                  <a:pt x="7425596" y="1454661"/>
                  <a:pt x="7370237" y="1474339"/>
                </a:cubicBezTo>
                <a:cubicBezTo>
                  <a:pt x="7316246" y="1485928"/>
                  <a:pt x="7281903" y="1512712"/>
                  <a:pt x="7222223" y="1510199"/>
                </a:cubicBezTo>
                <a:cubicBezTo>
                  <a:pt x="7221190" y="1514030"/>
                  <a:pt x="7218885" y="1517398"/>
                  <a:pt x="7215703" y="1520424"/>
                </a:cubicBezTo>
                <a:lnTo>
                  <a:pt x="7204548" y="1528145"/>
                </a:lnTo>
                <a:lnTo>
                  <a:pt x="7202038" y="1527954"/>
                </a:lnTo>
                <a:lnTo>
                  <a:pt x="7173860" y="1541605"/>
                </a:lnTo>
                <a:lnTo>
                  <a:pt x="7155079" y="1552495"/>
                </a:lnTo>
                <a:lnTo>
                  <a:pt x="7149757" y="1552732"/>
                </a:lnTo>
                <a:cubicBezTo>
                  <a:pt x="7141378" y="1554948"/>
                  <a:pt x="7115959" y="1563256"/>
                  <a:pt x="7104804" y="1565792"/>
                </a:cubicBezTo>
                <a:cubicBezTo>
                  <a:pt x="7099811" y="1550850"/>
                  <a:pt x="7096935" y="1561973"/>
                  <a:pt x="7082824" y="1567947"/>
                </a:cubicBezTo>
                <a:cubicBezTo>
                  <a:pt x="7071919" y="1546070"/>
                  <a:pt x="7039417" y="1570606"/>
                  <a:pt x="7021520" y="1562334"/>
                </a:cubicBezTo>
                <a:cubicBezTo>
                  <a:pt x="7011400" y="1567217"/>
                  <a:pt x="7000495" y="1571981"/>
                  <a:pt x="6988956" y="1576442"/>
                </a:cubicBezTo>
                <a:lnTo>
                  <a:pt x="6981922" y="1578821"/>
                </a:lnTo>
                <a:lnTo>
                  <a:pt x="6981583" y="1578678"/>
                </a:lnTo>
                <a:cubicBezTo>
                  <a:pt x="6979627" y="1578791"/>
                  <a:pt x="6977153" y="1579421"/>
                  <a:pt x="6973762" y="1580811"/>
                </a:cubicBezTo>
                <a:lnTo>
                  <a:pt x="6969093" y="1583157"/>
                </a:lnTo>
                <a:lnTo>
                  <a:pt x="6890037" y="1575825"/>
                </a:lnTo>
                <a:cubicBezTo>
                  <a:pt x="6849459" y="1579997"/>
                  <a:pt x="6820022" y="1566922"/>
                  <a:pt x="6785054" y="1582200"/>
                </a:cubicBezTo>
                <a:cubicBezTo>
                  <a:pt x="6747047" y="1586037"/>
                  <a:pt x="6712794" y="1582954"/>
                  <a:pt x="6681692" y="1591296"/>
                </a:cubicBezTo>
                <a:cubicBezTo>
                  <a:pt x="6667557" y="1587501"/>
                  <a:pt x="6654822" y="1586753"/>
                  <a:pt x="6644556" y="1595940"/>
                </a:cubicBezTo>
                <a:cubicBezTo>
                  <a:pt x="6608615" y="1597269"/>
                  <a:pt x="6597697" y="1587005"/>
                  <a:pt x="6577106" y="1598261"/>
                </a:cubicBezTo>
                <a:lnTo>
                  <a:pt x="6544183" y="1596149"/>
                </a:lnTo>
                <a:lnTo>
                  <a:pt x="6540921" y="1593857"/>
                </a:lnTo>
                <a:lnTo>
                  <a:pt x="6535046" y="1593283"/>
                </a:lnTo>
                <a:lnTo>
                  <a:pt x="6519853" y="1595771"/>
                </a:lnTo>
                <a:lnTo>
                  <a:pt x="6514280" y="1597376"/>
                </a:lnTo>
                <a:cubicBezTo>
                  <a:pt x="6510385" y="1598232"/>
                  <a:pt x="6507735" y="1598481"/>
                  <a:pt x="6505824" y="1598298"/>
                </a:cubicBezTo>
                <a:lnTo>
                  <a:pt x="6505573" y="1598109"/>
                </a:lnTo>
                <a:lnTo>
                  <a:pt x="6497741" y="1599392"/>
                </a:lnTo>
                <a:cubicBezTo>
                  <a:pt x="6484628" y="1602044"/>
                  <a:pt x="6471968" y="1605085"/>
                  <a:pt x="6459992" y="1608358"/>
                </a:cubicBezTo>
                <a:cubicBezTo>
                  <a:pt x="6447037" y="1597612"/>
                  <a:pt x="6404274" y="1616787"/>
                  <a:pt x="6404572" y="1593771"/>
                </a:cubicBezTo>
                <a:cubicBezTo>
                  <a:pt x="6388277" y="1597519"/>
                  <a:pt x="6380141" y="1607970"/>
                  <a:pt x="6382671" y="1592612"/>
                </a:cubicBezTo>
                <a:lnTo>
                  <a:pt x="6369843" y="1590015"/>
                </a:lnTo>
                <a:lnTo>
                  <a:pt x="6269740" y="1614633"/>
                </a:lnTo>
                <a:lnTo>
                  <a:pt x="6255405" y="1620529"/>
                </a:lnTo>
                <a:cubicBezTo>
                  <a:pt x="6250911" y="1623016"/>
                  <a:pt x="6247090" y="1625968"/>
                  <a:pt x="6244248" y="1629561"/>
                </a:cubicBezTo>
                <a:cubicBezTo>
                  <a:pt x="6188859" y="1618246"/>
                  <a:pt x="6143250" y="1639346"/>
                  <a:pt x="6086396" y="1642666"/>
                </a:cubicBezTo>
                <a:cubicBezTo>
                  <a:pt x="6024311" y="1653696"/>
                  <a:pt x="5889522" y="1686499"/>
                  <a:pt x="5867429" y="1695554"/>
                </a:cubicBezTo>
                <a:cubicBezTo>
                  <a:pt x="5848669" y="1700350"/>
                  <a:pt x="5763994" y="1699795"/>
                  <a:pt x="5772864" y="1689002"/>
                </a:cubicBezTo>
                <a:cubicBezTo>
                  <a:pt x="5718480" y="1716048"/>
                  <a:pt x="5694188" y="1696562"/>
                  <a:pt x="5629833" y="1713273"/>
                </a:cubicBezTo>
                <a:lnTo>
                  <a:pt x="5504771" y="1725744"/>
                </a:lnTo>
                <a:lnTo>
                  <a:pt x="5490967" y="1726367"/>
                </a:lnTo>
                <a:lnTo>
                  <a:pt x="5486015" y="1721481"/>
                </a:lnTo>
                <a:lnTo>
                  <a:pt x="5439364" y="1721349"/>
                </a:lnTo>
                <a:cubicBezTo>
                  <a:pt x="5418850" y="1733129"/>
                  <a:pt x="5381503" y="1725668"/>
                  <a:pt x="5350025" y="1729885"/>
                </a:cubicBezTo>
                <a:lnTo>
                  <a:pt x="5336104" y="1734377"/>
                </a:lnTo>
                <a:lnTo>
                  <a:pt x="5245234" y="1738520"/>
                </a:lnTo>
                <a:lnTo>
                  <a:pt x="5182955" y="1744622"/>
                </a:lnTo>
                <a:lnTo>
                  <a:pt x="5169506" y="1748993"/>
                </a:lnTo>
                <a:lnTo>
                  <a:pt x="5154299" y="1744080"/>
                </a:lnTo>
                <a:cubicBezTo>
                  <a:pt x="5152463" y="1742751"/>
                  <a:pt x="5150989" y="1741283"/>
                  <a:pt x="5149917" y="1739727"/>
                </a:cubicBezTo>
                <a:lnTo>
                  <a:pt x="5100319" y="1745797"/>
                </a:lnTo>
                <a:lnTo>
                  <a:pt x="5094361" y="1745767"/>
                </a:lnTo>
                <a:lnTo>
                  <a:pt x="5053410" y="1742790"/>
                </a:lnTo>
                <a:lnTo>
                  <a:pt x="4992711" y="1734075"/>
                </a:lnTo>
                <a:cubicBezTo>
                  <a:pt x="4972764" y="1728527"/>
                  <a:pt x="4955480" y="1708667"/>
                  <a:pt x="4930098" y="1717312"/>
                </a:cubicBezTo>
                <a:cubicBezTo>
                  <a:pt x="4936142" y="1706767"/>
                  <a:pt x="4900350" y="1719438"/>
                  <a:pt x="4893834" y="1710028"/>
                </a:cubicBezTo>
                <a:cubicBezTo>
                  <a:pt x="4890113" y="1702277"/>
                  <a:pt x="4878389" y="1704314"/>
                  <a:pt x="4868730" y="1702384"/>
                </a:cubicBezTo>
                <a:cubicBezTo>
                  <a:pt x="4860577" y="1694955"/>
                  <a:pt x="4813519" y="1692594"/>
                  <a:pt x="4797925" y="1695535"/>
                </a:cubicBezTo>
                <a:cubicBezTo>
                  <a:pt x="4754973" y="1708626"/>
                  <a:pt x="4712186" y="1679830"/>
                  <a:pt x="4677670" y="1689453"/>
                </a:cubicBezTo>
                <a:cubicBezTo>
                  <a:pt x="4650390" y="1686902"/>
                  <a:pt x="4641786" y="1682702"/>
                  <a:pt x="4634248" y="1680227"/>
                </a:cubicBezTo>
                <a:lnTo>
                  <a:pt x="4632434" y="1674607"/>
                </a:lnTo>
                <a:lnTo>
                  <a:pt x="4619204" y="1672507"/>
                </a:lnTo>
                <a:lnTo>
                  <a:pt x="4616283" y="1670977"/>
                </a:lnTo>
                <a:cubicBezTo>
                  <a:pt x="4610716" y="1668036"/>
                  <a:pt x="4605090" y="1665277"/>
                  <a:pt x="4598926" y="1663178"/>
                </a:cubicBezTo>
                <a:cubicBezTo>
                  <a:pt x="4588025" y="1686237"/>
                  <a:pt x="4544698" y="1649138"/>
                  <a:pt x="4547069" y="1670642"/>
                </a:cubicBezTo>
                <a:lnTo>
                  <a:pt x="4523516" y="1669785"/>
                </a:lnTo>
                <a:lnTo>
                  <a:pt x="4500586" y="1675912"/>
                </a:lnTo>
                <a:lnTo>
                  <a:pt x="4488196" y="1683463"/>
                </a:lnTo>
                <a:lnTo>
                  <a:pt x="4445463" y="1695634"/>
                </a:lnTo>
                <a:lnTo>
                  <a:pt x="4446550" y="1680538"/>
                </a:lnTo>
                <a:lnTo>
                  <a:pt x="4365375" y="1697935"/>
                </a:lnTo>
                <a:lnTo>
                  <a:pt x="4305123" y="1714185"/>
                </a:lnTo>
                <a:lnTo>
                  <a:pt x="4292665" y="1720703"/>
                </a:lnTo>
                <a:lnTo>
                  <a:pt x="4276789" y="1718367"/>
                </a:lnTo>
                <a:cubicBezTo>
                  <a:pt x="4274740" y="1717359"/>
                  <a:pt x="4273021" y="1716157"/>
                  <a:pt x="4271683" y="1714801"/>
                </a:cubicBezTo>
                <a:lnTo>
                  <a:pt x="4223918" y="1728936"/>
                </a:lnTo>
                <a:lnTo>
                  <a:pt x="4218039" y="1729885"/>
                </a:lnTo>
                <a:lnTo>
                  <a:pt x="4177153" y="1733691"/>
                </a:lnTo>
                <a:lnTo>
                  <a:pt x="4051032" y="1728886"/>
                </a:lnTo>
                <a:cubicBezTo>
                  <a:pt x="4055072" y="1717510"/>
                  <a:pt x="4022108" y="1735873"/>
                  <a:pt x="4013978" y="1727679"/>
                </a:cubicBezTo>
                <a:cubicBezTo>
                  <a:pt x="4008905" y="1720660"/>
                  <a:pt x="3997723" y="1724594"/>
                  <a:pt x="3987857" y="1724282"/>
                </a:cubicBezTo>
                <a:cubicBezTo>
                  <a:pt x="3978476" y="1718309"/>
                  <a:pt x="3931683" y="1723723"/>
                  <a:pt x="3916852" y="1729184"/>
                </a:cubicBezTo>
                <a:cubicBezTo>
                  <a:pt x="3876910" y="1749138"/>
                  <a:pt x="3829523" y="1727824"/>
                  <a:pt x="3797263" y="1742976"/>
                </a:cubicBezTo>
                <a:cubicBezTo>
                  <a:pt x="3769922" y="1744951"/>
                  <a:pt x="3760682" y="1742230"/>
                  <a:pt x="3752806" y="1741033"/>
                </a:cubicBezTo>
                <a:lnTo>
                  <a:pt x="3749997" y="1735799"/>
                </a:lnTo>
                <a:lnTo>
                  <a:pt x="3736582" y="1735907"/>
                </a:lnTo>
                <a:lnTo>
                  <a:pt x="3733428" y="1734881"/>
                </a:lnTo>
                <a:cubicBezTo>
                  <a:pt x="3727408" y="1732899"/>
                  <a:pt x="3721365" y="1731108"/>
                  <a:pt x="3714911" y="1730056"/>
                </a:cubicBezTo>
                <a:cubicBezTo>
                  <a:pt x="3708355" y="1754554"/>
                  <a:pt x="3658933" y="1725152"/>
                  <a:pt x="3665172" y="1745936"/>
                </a:cubicBezTo>
                <a:cubicBezTo>
                  <a:pt x="3628569" y="1744420"/>
                  <a:pt x="3583742" y="1775884"/>
                  <a:pt x="3552006" y="1755220"/>
                </a:cubicBezTo>
                <a:cubicBezTo>
                  <a:pt x="3497522" y="1758390"/>
                  <a:pt x="3448310" y="1757433"/>
                  <a:pt x="3390301" y="1762546"/>
                </a:cubicBezTo>
                <a:cubicBezTo>
                  <a:pt x="3345266" y="1774524"/>
                  <a:pt x="3297039" y="1758531"/>
                  <a:pt x="3264312" y="1774620"/>
                </a:cubicBezTo>
                <a:cubicBezTo>
                  <a:pt x="3212634" y="1771139"/>
                  <a:pt x="3147905" y="1780248"/>
                  <a:pt x="3106901" y="1804264"/>
                </a:cubicBezTo>
                <a:cubicBezTo>
                  <a:pt x="3051355" y="1805490"/>
                  <a:pt x="3041708" y="1820368"/>
                  <a:pt x="2993303" y="1806542"/>
                </a:cubicBezTo>
                <a:cubicBezTo>
                  <a:pt x="2989182" y="1810139"/>
                  <a:pt x="2984377" y="1813039"/>
                  <a:pt x="2979115" y="1815432"/>
                </a:cubicBezTo>
                <a:lnTo>
                  <a:pt x="2963118" y="1820962"/>
                </a:lnTo>
                <a:lnTo>
                  <a:pt x="2961156" y="1820297"/>
                </a:lnTo>
                <a:lnTo>
                  <a:pt x="2925719" y="1828468"/>
                </a:lnTo>
                <a:lnTo>
                  <a:pt x="2857951" y="1842496"/>
                </a:lnTo>
                <a:lnTo>
                  <a:pt x="2857427" y="1841591"/>
                </a:lnTo>
                <a:cubicBezTo>
                  <a:pt x="2855386" y="1839734"/>
                  <a:pt x="2852250" y="1838690"/>
                  <a:pt x="2846731" y="1839316"/>
                </a:cubicBezTo>
                <a:cubicBezTo>
                  <a:pt x="2855175" y="1823564"/>
                  <a:pt x="2843311" y="1834035"/>
                  <a:pt x="2826290" y="1837274"/>
                </a:cubicBezTo>
                <a:cubicBezTo>
                  <a:pt x="2835609" y="1813530"/>
                  <a:pt x="2787284" y="1831665"/>
                  <a:pt x="2779146" y="1820071"/>
                </a:cubicBezTo>
                <a:cubicBezTo>
                  <a:pt x="2766432" y="1822985"/>
                  <a:pt x="2753158" y="1825635"/>
                  <a:pt x="2739608" y="1827861"/>
                </a:cubicBezTo>
                <a:lnTo>
                  <a:pt x="2731631" y="1828881"/>
                </a:lnTo>
                <a:cubicBezTo>
                  <a:pt x="2731575" y="1828813"/>
                  <a:pt x="2731521" y="1828744"/>
                  <a:pt x="2731464" y="1828677"/>
                </a:cubicBezTo>
                <a:cubicBezTo>
                  <a:pt x="2729715" y="1828415"/>
                  <a:pt x="2727085" y="1828569"/>
                  <a:pt x="2723037" y="1829303"/>
                </a:cubicBezTo>
                <a:lnTo>
                  <a:pt x="2701616" y="1832725"/>
                </a:lnTo>
                <a:lnTo>
                  <a:pt x="2696239" y="1831904"/>
                </a:lnTo>
                <a:lnTo>
                  <a:pt x="2663445" y="1825958"/>
                </a:lnTo>
                <a:cubicBezTo>
                  <a:pt x="2641260" y="1825904"/>
                  <a:pt x="2595040" y="1827674"/>
                  <a:pt x="2560925" y="1829094"/>
                </a:cubicBezTo>
                <a:cubicBezTo>
                  <a:pt x="2527977" y="1836499"/>
                  <a:pt x="2496507" y="1831991"/>
                  <a:pt x="2458739" y="1834479"/>
                </a:cubicBezTo>
                <a:cubicBezTo>
                  <a:pt x="2419379" y="1848893"/>
                  <a:pt x="2396428" y="1834257"/>
                  <a:pt x="2356074" y="1836991"/>
                </a:cubicBezTo>
                <a:cubicBezTo>
                  <a:pt x="2323435" y="1857644"/>
                  <a:pt x="2325610" y="1826053"/>
                  <a:pt x="2304241" y="1822021"/>
                </a:cubicBezTo>
                <a:lnTo>
                  <a:pt x="2298362" y="1822125"/>
                </a:lnTo>
                <a:lnTo>
                  <a:pt x="2283527" y="1826361"/>
                </a:lnTo>
                <a:lnTo>
                  <a:pt x="2278150" y="1828604"/>
                </a:lnTo>
                <a:cubicBezTo>
                  <a:pt x="2274371" y="1829907"/>
                  <a:pt x="2271762" y="1830461"/>
                  <a:pt x="2269853" y="1830502"/>
                </a:cubicBezTo>
                <a:lnTo>
                  <a:pt x="2269585" y="1830341"/>
                </a:lnTo>
                <a:lnTo>
                  <a:pt x="2225332" y="1845825"/>
                </a:lnTo>
                <a:cubicBezTo>
                  <a:pt x="2211505" y="1836594"/>
                  <a:pt x="2170867" y="1860661"/>
                  <a:pt x="2169048" y="1837658"/>
                </a:cubicBezTo>
                <a:cubicBezTo>
                  <a:pt x="2153238" y="1843278"/>
                  <a:pt x="2146132" y="1854645"/>
                  <a:pt x="2147231" y="1839027"/>
                </a:cubicBezTo>
                <a:cubicBezTo>
                  <a:pt x="2141901" y="1840465"/>
                  <a:pt x="2138205" y="1840014"/>
                  <a:pt x="2135241" y="1838652"/>
                </a:cubicBezTo>
                <a:lnTo>
                  <a:pt x="2099215" y="1850768"/>
                </a:lnTo>
                <a:lnTo>
                  <a:pt x="2094046" y="1850806"/>
                </a:lnTo>
                <a:lnTo>
                  <a:pt x="2071850" y="1861319"/>
                </a:lnTo>
                <a:lnTo>
                  <a:pt x="2039607" y="1874318"/>
                </a:lnTo>
                <a:lnTo>
                  <a:pt x="2037289" y="1874025"/>
                </a:lnTo>
                <a:lnTo>
                  <a:pt x="2023615" y="1881562"/>
                </a:lnTo>
                <a:cubicBezTo>
                  <a:pt x="2019390" y="1884562"/>
                  <a:pt x="1959668" y="1894795"/>
                  <a:pt x="1957176" y="1898709"/>
                </a:cubicBezTo>
                <a:cubicBezTo>
                  <a:pt x="1901224" y="1893805"/>
                  <a:pt x="1914145" y="1913274"/>
                  <a:pt x="1858081" y="1923144"/>
                </a:cubicBezTo>
                <a:cubicBezTo>
                  <a:pt x="1819487" y="1923227"/>
                  <a:pt x="1798952" y="1929741"/>
                  <a:pt x="1738865" y="1944965"/>
                </a:cubicBezTo>
                <a:cubicBezTo>
                  <a:pt x="1698633" y="1955957"/>
                  <a:pt x="1670491" y="1978862"/>
                  <a:pt x="1616692" y="1989107"/>
                </a:cubicBezTo>
                <a:cubicBezTo>
                  <a:pt x="1565257" y="2022368"/>
                  <a:pt x="1474172" y="2022156"/>
                  <a:pt x="1411898" y="2046254"/>
                </a:cubicBezTo>
                <a:cubicBezTo>
                  <a:pt x="1380237" y="2035952"/>
                  <a:pt x="1386648" y="2042292"/>
                  <a:pt x="1375780" y="2047961"/>
                </a:cubicBezTo>
                <a:cubicBezTo>
                  <a:pt x="1375756" y="2047968"/>
                  <a:pt x="1375731" y="2047974"/>
                  <a:pt x="1375707" y="2047981"/>
                </a:cubicBezTo>
                <a:lnTo>
                  <a:pt x="1285585" y="2047113"/>
                </a:lnTo>
                <a:cubicBezTo>
                  <a:pt x="1279541" y="2043453"/>
                  <a:pt x="1272537" y="2040974"/>
                  <a:pt x="1263658" y="2041397"/>
                </a:cubicBezTo>
                <a:cubicBezTo>
                  <a:pt x="1212454" y="2058890"/>
                  <a:pt x="1258499" y="2026611"/>
                  <a:pt x="1170403" y="2033399"/>
                </a:cubicBezTo>
                <a:cubicBezTo>
                  <a:pt x="1166530" y="2036274"/>
                  <a:pt x="1154254" y="2033463"/>
                  <a:pt x="1153718" y="2029576"/>
                </a:cubicBezTo>
                <a:cubicBezTo>
                  <a:pt x="1148486" y="2030819"/>
                  <a:pt x="1137980" y="2038354"/>
                  <a:pt x="1133937" y="2032149"/>
                </a:cubicBezTo>
                <a:cubicBezTo>
                  <a:pt x="1104720" y="2031606"/>
                  <a:pt x="1077532" y="2035424"/>
                  <a:pt x="1054999" y="2043242"/>
                </a:cubicBezTo>
                <a:cubicBezTo>
                  <a:pt x="1024875" y="2038090"/>
                  <a:pt x="1020473" y="2042711"/>
                  <a:pt x="1018405" y="2048281"/>
                </a:cubicBezTo>
                <a:lnTo>
                  <a:pt x="1016563" y="2051718"/>
                </a:lnTo>
                <a:lnTo>
                  <a:pt x="1008284" y="2046742"/>
                </a:lnTo>
                <a:cubicBezTo>
                  <a:pt x="999244" y="2043620"/>
                  <a:pt x="990505" y="2044937"/>
                  <a:pt x="981974" y="2048363"/>
                </a:cubicBezTo>
                <a:lnTo>
                  <a:pt x="971903" y="2053484"/>
                </a:lnTo>
                <a:lnTo>
                  <a:pt x="954015" y="2052529"/>
                </a:lnTo>
                <a:cubicBezTo>
                  <a:pt x="931960" y="2051365"/>
                  <a:pt x="861352" y="2046214"/>
                  <a:pt x="839571" y="2046509"/>
                </a:cubicBezTo>
                <a:lnTo>
                  <a:pt x="823321" y="2054296"/>
                </a:lnTo>
                <a:lnTo>
                  <a:pt x="800990" y="2051523"/>
                </a:lnTo>
                <a:cubicBezTo>
                  <a:pt x="790723" y="2052171"/>
                  <a:pt x="782268" y="2055403"/>
                  <a:pt x="776439" y="2062634"/>
                </a:cubicBezTo>
                <a:cubicBezTo>
                  <a:pt x="773155" y="2056184"/>
                  <a:pt x="769593" y="2059253"/>
                  <a:pt x="763041" y="2063995"/>
                </a:cubicBezTo>
                <a:lnTo>
                  <a:pt x="757863" y="2065877"/>
                </a:lnTo>
                <a:lnTo>
                  <a:pt x="745053" y="2051831"/>
                </a:lnTo>
                <a:lnTo>
                  <a:pt x="722609" y="2049504"/>
                </a:lnTo>
                <a:lnTo>
                  <a:pt x="717618" y="2042131"/>
                </a:lnTo>
                <a:lnTo>
                  <a:pt x="703285" y="2046808"/>
                </a:lnTo>
                <a:cubicBezTo>
                  <a:pt x="698219" y="2048137"/>
                  <a:pt x="690058" y="2049926"/>
                  <a:pt x="680199" y="2051947"/>
                </a:cubicBezTo>
                <a:lnTo>
                  <a:pt x="667351" y="2054469"/>
                </a:lnTo>
                <a:lnTo>
                  <a:pt x="660961" y="2049404"/>
                </a:lnTo>
                <a:lnTo>
                  <a:pt x="638282" y="2060093"/>
                </a:lnTo>
                <a:lnTo>
                  <a:pt x="583551" y="2070197"/>
                </a:lnTo>
                <a:cubicBezTo>
                  <a:pt x="569268" y="2091365"/>
                  <a:pt x="529124" y="2053106"/>
                  <a:pt x="525274" y="2079137"/>
                </a:cubicBezTo>
                <a:cubicBezTo>
                  <a:pt x="506495" y="2056498"/>
                  <a:pt x="440091" y="2069666"/>
                  <a:pt x="405635" y="2059339"/>
                </a:cubicBezTo>
                <a:cubicBezTo>
                  <a:pt x="397410" y="2069278"/>
                  <a:pt x="294416" y="2032966"/>
                  <a:pt x="281555" y="2022847"/>
                </a:cubicBezTo>
                <a:cubicBezTo>
                  <a:pt x="171589" y="1986245"/>
                  <a:pt x="126791" y="1985528"/>
                  <a:pt x="98513" y="1969504"/>
                </a:cubicBezTo>
                <a:cubicBezTo>
                  <a:pt x="85544" y="1965247"/>
                  <a:pt x="73324" y="1958000"/>
                  <a:pt x="56191" y="1950709"/>
                </a:cubicBezTo>
                <a:lnTo>
                  <a:pt x="0" y="1935789"/>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title"/>
          </p:nvPr>
        </p:nvSpPr>
        <p:spPr>
          <a:xfrm>
            <a:off x="852777" y="548640"/>
            <a:ext cx="7157553" cy="1188720"/>
          </a:xfrm>
        </p:spPr>
        <p:txBody>
          <a:bodyPr>
            <a:normAutofit/>
          </a:bodyPr>
          <a:lstStyle/>
          <a:p>
            <a:pPr>
              <a:lnSpc>
                <a:spcPct val="90000"/>
              </a:lnSpc>
            </a:pPr>
            <a:r>
              <a:rPr lang="en-US" sz="3700">
                <a:solidFill>
                  <a:schemeClr val="tx1">
                    <a:lumMod val="85000"/>
                    <a:lumOff val="15000"/>
                  </a:schemeClr>
                </a:solidFill>
              </a:rPr>
              <a:t>Operational Diligence: Efficiency &amp; Processes</a:t>
            </a:r>
          </a:p>
        </p:txBody>
      </p:sp>
      <p:sp>
        <p:nvSpPr>
          <p:cNvPr id="3" name="Content Placeholder 2"/>
          <p:cNvSpPr>
            <a:spLocks noGrp="1"/>
          </p:cNvSpPr>
          <p:nvPr>
            <p:ph idx="1"/>
          </p:nvPr>
        </p:nvSpPr>
        <p:spPr>
          <a:xfrm>
            <a:off x="1468490" y="2431765"/>
            <a:ext cx="6207019" cy="3320031"/>
          </a:xfrm>
        </p:spPr>
        <p:txBody>
          <a:bodyPr anchor="ctr">
            <a:normAutofit/>
          </a:bodyPr>
          <a:lstStyle/>
          <a:p>
            <a:endParaRPr lang="en-US" sz="1700" dirty="0">
              <a:solidFill>
                <a:schemeClr val="tx1">
                  <a:lumMod val="85000"/>
                  <a:lumOff val="15000"/>
                </a:schemeClr>
              </a:solidFill>
            </a:endParaRPr>
          </a:p>
          <a:p>
            <a:r>
              <a:rPr lang="en-US" sz="1700" dirty="0">
                <a:solidFill>
                  <a:schemeClr val="tx1">
                    <a:lumMod val="85000"/>
                    <a:lumOff val="15000"/>
                  </a:schemeClr>
                </a:solidFill>
              </a:rPr>
              <a:t>USA/UK/France deliver higher average profit per transaction with manageable cost ramp (+10% </a:t>
            </a:r>
            <a:r>
              <a:rPr lang="en-US" sz="1700" dirty="0" err="1">
                <a:solidFill>
                  <a:schemeClr val="tx1">
                    <a:lumMod val="85000"/>
                    <a:lumOff val="15000"/>
                  </a:schemeClr>
                </a:solidFill>
              </a:rPr>
              <a:t>txns</a:t>
            </a:r>
            <a:r>
              <a:rPr lang="en-US" sz="1700" dirty="0">
                <a:solidFill>
                  <a:schemeClr val="tx1">
                    <a:lumMod val="85000"/>
                    <a:lumOff val="15000"/>
                  </a:schemeClr>
                </a:solidFill>
              </a:rPr>
              <a:t> → ~+3% cost).</a:t>
            </a:r>
          </a:p>
          <a:p>
            <a:r>
              <a:rPr lang="en-US" sz="1700" dirty="0">
                <a:solidFill>
                  <a:schemeClr val="tx1">
                    <a:lumMod val="85000"/>
                    <a:lumOff val="15000"/>
                  </a:schemeClr>
                </a:solidFill>
              </a:rPr>
              <a:t>Cost drivers &amp; bottlenecks</a:t>
            </a:r>
          </a:p>
          <a:p>
            <a:pPr lvl="1"/>
            <a:r>
              <a:rPr lang="en-US" sz="1700" dirty="0">
                <a:solidFill>
                  <a:schemeClr val="tx1">
                    <a:lumMod val="85000"/>
                    <a:lumOff val="15000"/>
                  </a:schemeClr>
                </a:solidFill>
              </a:rPr>
              <a:t>Clothing is a disproportionate cost driver; 10% reduction → ~1.26% lower total cost</a:t>
            </a:r>
          </a:p>
          <a:p>
            <a:pPr lvl="1"/>
            <a:r>
              <a:rPr lang="en-US" sz="1700" dirty="0">
                <a:solidFill>
                  <a:schemeClr val="tx1">
                    <a:lumMod val="85000"/>
                    <a:lumOff val="15000"/>
                  </a:schemeClr>
                </a:solidFill>
              </a:rPr>
              <a:t>155 orders with extremely long fulfillment times (USA/Canada/Brazil; DTC‑FBA)</a:t>
            </a:r>
          </a:p>
          <a:p>
            <a:r>
              <a:rPr lang="en-US" sz="1700" dirty="0">
                <a:solidFill>
                  <a:schemeClr val="tx1">
                    <a:lumMod val="85000"/>
                    <a:lumOff val="15000"/>
                  </a:schemeClr>
                </a:solidFill>
              </a:rPr>
              <a:t>Connections</a:t>
            </a:r>
          </a:p>
          <a:p>
            <a:pPr lvl="1"/>
            <a:r>
              <a:rPr lang="en-US" sz="1700" dirty="0">
                <a:solidFill>
                  <a:schemeClr val="tx1">
                    <a:lumMod val="85000"/>
                    <a:lumOff val="15000"/>
                  </a:schemeClr>
                </a:solidFill>
              </a:rPr>
              <a:t>Guides inventory rebalancing and SLA fixes that protect Financial margins and Customer NPS</a:t>
            </a:r>
          </a:p>
        </p:txBody>
      </p:sp>
      <p:sp>
        <p:nvSpPr>
          <p:cNvPr id="35" name="Freeform: Shape 28">
            <a:extLst>
              <a:ext uri="{FF2B5EF4-FFF2-40B4-BE49-F238E27FC236}">
                <a16:creationId xmlns:a16="http://schemas.microsoft.com/office/drawing/2014/main" id="{142DCE2C-2863-46FA-9BE7-24365A24D9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68439" y="5970896"/>
            <a:ext cx="7475562" cy="887104"/>
          </a:xfrm>
          <a:custGeom>
            <a:avLst/>
            <a:gdLst>
              <a:gd name="connsiteX0" fmla="*/ 4686423 w 9517857"/>
              <a:gd name="connsiteY0" fmla="*/ 247919 h 918356"/>
              <a:gd name="connsiteX1" fmla="*/ 4689051 w 9517857"/>
              <a:gd name="connsiteY1" fmla="*/ 250968 h 918356"/>
              <a:gd name="connsiteX2" fmla="*/ 4687244 w 9517857"/>
              <a:gd name="connsiteY2" fmla="*/ 251298 h 918356"/>
              <a:gd name="connsiteX3" fmla="*/ 4685225 w 9517857"/>
              <a:gd name="connsiteY3" fmla="*/ 246530 h 918356"/>
              <a:gd name="connsiteX4" fmla="*/ 4686133 w 9517857"/>
              <a:gd name="connsiteY4" fmla="*/ 246727 h 918356"/>
              <a:gd name="connsiteX5" fmla="*/ 4686423 w 9517857"/>
              <a:gd name="connsiteY5" fmla="*/ 247919 h 918356"/>
              <a:gd name="connsiteX6" fmla="*/ 9517856 w 9517857"/>
              <a:gd name="connsiteY6" fmla="*/ 0 h 918356"/>
              <a:gd name="connsiteX7" fmla="*/ 9517857 w 9517857"/>
              <a:gd name="connsiteY7" fmla="*/ 12 h 918356"/>
              <a:gd name="connsiteX8" fmla="*/ 9517857 w 9517857"/>
              <a:gd name="connsiteY8" fmla="*/ 918356 h 918356"/>
              <a:gd name="connsiteX9" fmla="*/ 14604 w 9517857"/>
              <a:gd name="connsiteY9" fmla="*/ 918356 h 918356"/>
              <a:gd name="connsiteX10" fmla="*/ 12841 w 9517857"/>
              <a:gd name="connsiteY10" fmla="*/ 917763 h 918356"/>
              <a:gd name="connsiteX11" fmla="*/ 93 w 9517857"/>
              <a:gd name="connsiteY11" fmla="*/ 912471 h 918356"/>
              <a:gd name="connsiteX12" fmla="*/ 58674 w 9517857"/>
              <a:gd name="connsiteY12" fmla="*/ 890322 h 918356"/>
              <a:gd name="connsiteX13" fmla="*/ 275005 w 9517857"/>
              <a:gd name="connsiteY13" fmla="*/ 807229 h 918356"/>
              <a:gd name="connsiteX14" fmla="*/ 587824 w 9517857"/>
              <a:gd name="connsiteY14" fmla="*/ 798195 h 918356"/>
              <a:gd name="connsiteX15" fmla="*/ 651826 w 9517857"/>
              <a:gd name="connsiteY15" fmla="*/ 738338 h 918356"/>
              <a:gd name="connsiteX16" fmla="*/ 727985 w 9517857"/>
              <a:gd name="connsiteY16" fmla="*/ 719826 h 918356"/>
              <a:gd name="connsiteX17" fmla="*/ 778982 w 9517857"/>
              <a:gd name="connsiteY17" fmla="*/ 710142 h 918356"/>
              <a:gd name="connsiteX18" fmla="*/ 849944 w 9517857"/>
              <a:gd name="connsiteY18" fmla="*/ 717987 h 918356"/>
              <a:gd name="connsiteX19" fmla="*/ 921659 w 9517857"/>
              <a:gd name="connsiteY19" fmla="*/ 712695 h 918356"/>
              <a:gd name="connsiteX20" fmla="*/ 930946 w 9517857"/>
              <a:gd name="connsiteY20" fmla="*/ 734046 h 918356"/>
              <a:gd name="connsiteX21" fmla="*/ 986250 w 9517857"/>
              <a:gd name="connsiteY21" fmla="*/ 713530 h 918356"/>
              <a:gd name="connsiteX22" fmla="*/ 1013752 w 9517857"/>
              <a:gd name="connsiteY22" fmla="*/ 713361 h 918356"/>
              <a:gd name="connsiteX23" fmla="*/ 1023734 w 9517857"/>
              <a:gd name="connsiteY23" fmla="*/ 718571 h 918356"/>
              <a:gd name="connsiteX24" fmla="*/ 1063207 w 9517857"/>
              <a:gd name="connsiteY24" fmla="*/ 715651 h 918356"/>
              <a:gd name="connsiteX25" fmla="*/ 1081980 w 9517857"/>
              <a:gd name="connsiteY25" fmla="*/ 738455 h 918356"/>
              <a:gd name="connsiteX26" fmla="*/ 1218120 w 9517857"/>
              <a:gd name="connsiteY26" fmla="*/ 713280 h 918356"/>
              <a:gd name="connsiteX27" fmla="*/ 1397459 w 9517857"/>
              <a:gd name="connsiteY27" fmla="*/ 691190 h 918356"/>
              <a:gd name="connsiteX28" fmla="*/ 1580688 w 9517857"/>
              <a:gd name="connsiteY28" fmla="*/ 693697 h 918356"/>
              <a:gd name="connsiteX29" fmla="*/ 1772334 w 9517857"/>
              <a:gd name="connsiteY29" fmla="*/ 710640 h 918356"/>
              <a:gd name="connsiteX30" fmla="*/ 2002561 w 9517857"/>
              <a:gd name="connsiteY30" fmla="*/ 659917 h 918356"/>
              <a:gd name="connsiteX31" fmla="*/ 2135144 w 9517857"/>
              <a:gd name="connsiteY31" fmla="*/ 636501 h 918356"/>
              <a:gd name="connsiteX32" fmla="*/ 2440292 w 9517857"/>
              <a:gd name="connsiteY32" fmla="*/ 593862 h 918356"/>
              <a:gd name="connsiteX33" fmla="*/ 2547829 w 9517857"/>
              <a:gd name="connsiteY33" fmla="*/ 566150 h 918356"/>
              <a:gd name="connsiteX34" fmla="*/ 2658055 w 9517857"/>
              <a:gd name="connsiteY34" fmla="*/ 578727 h 918356"/>
              <a:gd name="connsiteX35" fmla="*/ 2693698 w 9517857"/>
              <a:gd name="connsiteY35" fmla="*/ 560029 h 918356"/>
              <a:gd name="connsiteX36" fmla="*/ 2699673 w 9517857"/>
              <a:gd name="connsiteY36" fmla="*/ 556400 h 918356"/>
              <a:gd name="connsiteX37" fmla="*/ 2727306 w 9517857"/>
              <a:gd name="connsiteY37" fmla="*/ 550698 h 918356"/>
              <a:gd name="connsiteX38" fmla="*/ 2730451 w 9517857"/>
              <a:gd name="connsiteY38" fmla="*/ 538058 h 918356"/>
              <a:gd name="connsiteX39" fmla="*/ 2768713 w 9517857"/>
              <a:gd name="connsiteY39" fmla="*/ 521575 h 918356"/>
              <a:gd name="connsiteX40" fmla="*/ 2820868 w 9517857"/>
              <a:gd name="connsiteY40" fmla="*/ 514160 h 918356"/>
              <a:gd name="connsiteX41" fmla="*/ 3073635 w 9517857"/>
              <a:gd name="connsiteY41" fmla="*/ 491294 h 918356"/>
              <a:gd name="connsiteX42" fmla="*/ 3222071 w 9517857"/>
              <a:gd name="connsiteY42" fmla="*/ 470559 h 918356"/>
              <a:gd name="connsiteX43" fmla="*/ 3274069 w 9517857"/>
              <a:gd name="connsiteY43" fmla="*/ 451605 h 918356"/>
              <a:gd name="connsiteX44" fmla="*/ 3349632 w 9517857"/>
              <a:gd name="connsiteY44" fmla="*/ 432583 h 918356"/>
              <a:gd name="connsiteX45" fmla="*/ 3479593 w 9517857"/>
              <a:gd name="connsiteY45" fmla="*/ 390437 h 918356"/>
              <a:gd name="connsiteX46" fmla="*/ 3660110 w 9517857"/>
              <a:gd name="connsiteY46" fmla="*/ 348726 h 918356"/>
              <a:gd name="connsiteX47" fmla="*/ 3750023 w 9517857"/>
              <a:gd name="connsiteY47" fmla="*/ 370678 h 918356"/>
              <a:gd name="connsiteX48" fmla="*/ 3844133 w 9517857"/>
              <a:gd name="connsiteY48" fmla="*/ 360648 h 918356"/>
              <a:gd name="connsiteX49" fmla="*/ 3913545 w 9517857"/>
              <a:gd name="connsiteY49" fmla="*/ 344235 h 918356"/>
              <a:gd name="connsiteX50" fmla="*/ 4266740 w 9517857"/>
              <a:gd name="connsiteY50" fmla="*/ 361454 h 918356"/>
              <a:gd name="connsiteX51" fmla="*/ 4430770 w 9517857"/>
              <a:gd name="connsiteY51" fmla="*/ 342643 h 918356"/>
              <a:gd name="connsiteX52" fmla="*/ 4512664 w 9517857"/>
              <a:gd name="connsiteY52" fmla="*/ 319948 h 918356"/>
              <a:gd name="connsiteX53" fmla="*/ 4616423 w 9517857"/>
              <a:gd name="connsiteY53" fmla="*/ 290914 h 918356"/>
              <a:gd name="connsiteX54" fmla="*/ 4691675 w 9517857"/>
              <a:gd name="connsiteY54" fmla="*/ 254011 h 918356"/>
              <a:gd name="connsiteX55" fmla="*/ 4689051 w 9517857"/>
              <a:gd name="connsiteY55" fmla="*/ 250968 h 918356"/>
              <a:gd name="connsiteX56" fmla="*/ 4719994 w 9517857"/>
              <a:gd name="connsiteY56" fmla="*/ 245307 h 918356"/>
              <a:gd name="connsiteX57" fmla="*/ 4752894 w 9517857"/>
              <a:gd name="connsiteY57" fmla="*/ 239875 h 918356"/>
              <a:gd name="connsiteX58" fmla="*/ 4769329 w 9517857"/>
              <a:gd name="connsiteY58" fmla="*/ 233585 h 918356"/>
              <a:gd name="connsiteX59" fmla="*/ 4775634 w 9517857"/>
              <a:gd name="connsiteY59" fmla="*/ 234063 h 918356"/>
              <a:gd name="connsiteX60" fmla="*/ 4790452 w 9517857"/>
              <a:gd name="connsiteY60" fmla="*/ 233572 h 918356"/>
              <a:gd name="connsiteX61" fmla="*/ 4789062 w 9517857"/>
              <a:gd name="connsiteY61" fmla="*/ 241924 h 918356"/>
              <a:gd name="connsiteX62" fmla="*/ 4827826 w 9517857"/>
              <a:gd name="connsiteY62" fmla="*/ 246977 h 918356"/>
              <a:gd name="connsiteX63" fmla="*/ 4892569 w 9517857"/>
              <a:gd name="connsiteY63" fmla="*/ 249933 h 918356"/>
              <a:gd name="connsiteX64" fmla="*/ 4896611 w 9517857"/>
              <a:gd name="connsiteY64" fmla="*/ 240448 h 918356"/>
              <a:gd name="connsiteX65" fmla="*/ 4917286 w 9517857"/>
              <a:gd name="connsiteY65" fmla="*/ 243659 h 918356"/>
              <a:gd name="connsiteX66" fmla="*/ 4981173 w 9517857"/>
              <a:gd name="connsiteY66" fmla="*/ 247103 h 918356"/>
              <a:gd name="connsiteX67" fmla="*/ 5060397 w 9517857"/>
              <a:gd name="connsiteY67" fmla="*/ 263688 h 918356"/>
              <a:gd name="connsiteX68" fmla="*/ 5252996 w 9517857"/>
              <a:gd name="connsiteY68" fmla="*/ 270655 h 918356"/>
              <a:gd name="connsiteX69" fmla="*/ 5358056 w 9517857"/>
              <a:gd name="connsiteY69" fmla="*/ 247248 h 918356"/>
              <a:gd name="connsiteX70" fmla="*/ 5426496 w 9517857"/>
              <a:gd name="connsiteY70" fmla="*/ 235142 h 918356"/>
              <a:gd name="connsiteX71" fmla="*/ 5497161 w 9517857"/>
              <a:gd name="connsiteY71" fmla="*/ 228808 h 918356"/>
              <a:gd name="connsiteX72" fmla="*/ 5826043 w 9517857"/>
              <a:gd name="connsiteY72" fmla="*/ 148073 h 918356"/>
              <a:gd name="connsiteX73" fmla="*/ 6013415 w 9517857"/>
              <a:gd name="connsiteY73" fmla="*/ 137316 h 918356"/>
              <a:gd name="connsiteX74" fmla="*/ 6080994 w 9517857"/>
              <a:gd name="connsiteY74" fmla="*/ 142938 h 918356"/>
              <a:gd name="connsiteX75" fmla="*/ 6194152 w 9517857"/>
              <a:gd name="connsiteY75" fmla="*/ 151772 h 918356"/>
              <a:gd name="connsiteX76" fmla="*/ 6281379 w 9517857"/>
              <a:gd name="connsiteY76" fmla="*/ 181626 h 918356"/>
              <a:gd name="connsiteX77" fmla="*/ 6374947 w 9517857"/>
              <a:gd name="connsiteY77" fmla="*/ 179799 h 918356"/>
              <a:gd name="connsiteX78" fmla="*/ 6448518 w 9517857"/>
              <a:gd name="connsiteY78" fmla="*/ 164378 h 918356"/>
              <a:gd name="connsiteX79" fmla="*/ 6544700 w 9517857"/>
              <a:gd name="connsiteY79" fmla="*/ 167161 h 918356"/>
              <a:gd name="connsiteX80" fmla="*/ 6648353 w 9517857"/>
              <a:gd name="connsiteY80" fmla="*/ 172250 h 918356"/>
              <a:gd name="connsiteX81" fmla="*/ 6736227 w 9517857"/>
              <a:gd name="connsiteY81" fmla="*/ 173216 h 918356"/>
              <a:gd name="connsiteX82" fmla="*/ 6977218 w 9517857"/>
              <a:gd name="connsiteY82" fmla="*/ 184289 h 918356"/>
              <a:gd name="connsiteX83" fmla="*/ 7065221 w 9517857"/>
              <a:gd name="connsiteY83" fmla="*/ 227531 h 918356"/>
              <a:gd name="connsiteX84" fmla="*/ 7366876 w 9517857"/>
              <a:gd name="connsiteY84" fmla="*/ 248468 h 918356"/>
              <a:gd name="connsiteX85" fmla="*/ 7565449 w 9517857"/>
              <a:gd name="connsiteY85" fmla="*/ 258950 h 918356"/>
              <a:gd name="connsiteX86" fmla="*/ 7599285 w 9517857"/>
              <a:gd name="connsiteY86" fmla="*/ 266021 h 918356"/>
              <a:gd name="connsiteX87" fmla="*/ 7644411 w 9517857"/>
              <a:gd name="connsiteY87" fmla="*/ 258986 h 918356"/>
              <a:gd name="connsiteX88" fmla="*/ 7825110 w 9517857"/>
              <a:gd name="connsiteY88" fmla="*/ 229109 h 918356"/>
              <a:gd name="connsiteX89" fmla="*/ 7965804 w 9517857"/>
              <a:gd name="connsiteY89" fmla="*/ 190545 h 918356"/>
              <a:gd name="connsiteX90" fmla="*/ 8147401 w 9517857"/>
              <a:gd name="connsiteY90" fmla="*/ 205617 h 918356"/>
              <a:gd name="connsiteX91" fmla="*/ 8256033 w 9517857"/>
              <a:gd name="connsiteY91" fmla="*/ 193713 h 918356"/>
              <a:gd name="connsiteX92" fmla="*/ 8410677 w 9517857"/>
              <a:gd name="connsiteY92" fmla="*/ 172167 h 918356"/>
              <a:gd name="connsiteX93" fmla="*/ 8617841 w 9517857"/>
              <a:gd name="connsiteY93" fmla="*/ 155167 h 918356"/>
              <a:gd name="connsiteX94" fmla="*/ 8715976 w 9517857"/>
              <a:gd name="connsiteY94" fmla="*/ 178374 h 918356"/>
              <a:gd name="connsiteX95" fmla="*/ 8778827 w 9517857"/>
              <a:gd name="connsiteY95" fmla="*/ 172936 h 918356"/>
              <a:gd name="connsiteX96" fmla="*/ 8840778 w 9517857"/>
              <a:gd name="connsiteY96" fmla="*/ 143149 h 918356"/>
              <a:gd name="connsiteX97" fmla="*/ 9010380 w 9517857"/>
              <a:gd name="connsiteY97" fmla="*/ 91891 h 918356"/>
              <a:gd name="connsiteX98" fmla="*/ 9110856 w 9517857"/>
              <a:gd name="connsiteY98" fmla="*/ 70997 h 918356"/>
              <a:gd name="connsiteX99" fmla="*/ 9268817 w 9517857"/>
              <a:gd name="connsiteY99" fmla="*/ 53082 h 918356"/>
              <a:gd name="connsiteX100" fmla="*/ 9316667 w 9517857"/>
              <a:gd name="connsiteY100" fmla="*/ 45047 h 918356"/>
              <a:gd name="connsiteX101" fmla="*/ 9428209 w 9517857"/>
              <a:gd name="connsiteY101" fmla="*/ 29923 h 91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517857" h="918356">
                <a:moveTo>
                  <a:pt x="4686423" y="247919"/>
                </a:moveTo>
                <a:lnTo>
                  <a:pt x="4689051" y="250968"/>
                </a:lnTo>
                <a:lnTo>
                  <a:pt x="4687244" y="251298"/>
                </a:lnTo>
                <a:close/>
                <a:moveTo>
                  <a:pt x="4685225" y="246530"/>
                </a:moveTo>
                <a:cubicBezTo>
                  <a:pt x="4688837" y="243198"/>
                  <a:pt x="4687468" y="244598"/>
                  <a:pt x="4686133" y="246727"/>
                </a:cubicBezTo>
                <a:lnTo>
                  <a:pt x="4686423" y="247919"/>
                </a:lnTo>
                <a:close/>
                <a:moveTo>
                  <a:pt x="9517856" y="0"/>
                </a:moveTo>
                <a:lnTo>
                  <a:pt x="9517857" y="12"/>
                </a:lnTo>
                <a:lnTo>
                  <a:pt x="9517857" y="918356"/>
                </a:lnTo>
                <a:lnTo>
                  <a:pt x="14604" y="918356"/>
                </a:lnTo>
                <a:lnTo>
                  <a:pt x="12841" y="917763"/>
                </a:lnTo>
                <a:cubicBezTo>
                  <a:pt x="4532" y="914864"/>
                  <a:pt x="-773" y="912807"/>
                  <a:pt x="93" y="912471"/>
                </a:cubicBezTo>
                <a:cubicBezTo>
                  <a:pt x="172" y="912298"/>
                  <a:pt x="58594" y="890495"/>
                  <a:pt x="58674" y="890322"/>
                </a:cubicBezTo>
                <a:cubicBezTo>
                  <a:pt x="127436" y="929614"/>
                  <a:pt x="206243" y="828226"/>
                  <a:pt x="275005" y="807229"/>
                </a:cubicBezTo>
                <a:cubicBezTo>
                  <a:pt x="303983" y="806087"/>
                  <a:pt x="504960" y="777375"/>
                  <a:pt x="587824" y="798195"/>
                </a:cubicBezTo>
                <a:cubicBezTo>
                  <a:pt x="598733" y="769348"/>
                  <a:pt x="682904" y="785924"/>
                  <a:pt x="651826" y="738338"/>
                </a:cubicBezTo>
                <a:cubicBezTo>
                  <a:pt x="688440" y="737862"/>
                  <a:pt x="753255" y="750396"/>
                  <a:pt x="727985" y="719826"/>
                </a:cubicBezTo>
                <a:cubicBezTo>
                  <a:pt x="739648" y="718749"/>
                  <a:pt x="775717" y="715087"/>
                  <a:pt x="778982" y="710142"/>
                </a:cubicBezTo>
                <a:cubicBezTo>
                  <a:pt x="779189" y="709407"/>
                  <a:pt x="849736" y="718721"/>
                  <a:pt x="849944" y="717987"/>
                </a:cubicBezTo>
                <a:lnTo>
                  <a:pt x="921659" y="712695"/>
                </a:lnTo>
                <a:lnTo>
                  <a:pt x="930946" y="734046"/>
                </a:lnTo>
                <a:lnTo>
                  <a:pt x="986250" y="713530"/>
                </a:lnTo>
                <a:lnTo>
                  <a:pt x="1013752" y="713361"/>
                </a:lnTo>
                <a:lnTo>
                  <a:pt x="1023734" y="718571"/>
                </a:lnTo>
                <a:cubicBezTo>
                  <a:pt x="1033291" y="721276"/>
                  <a:pt x="1045398" y="721394"/>
                  <a:pt x="1063207" y="715651"/>
                </a:cubicBezTo>
                <a:lnTo>
                  <a:pt x="1081980" y="738455"/>
                </a:lnTo>
                <a:lnTo>
                  <a:pt x="1218120" y="713280"/>
                </a:lnTo>
                <a:cubicBezTo>
                  <a:pt x="1230137" y="716162"/>
                  <a:pt x="1387179" y="685179"/>
                  <a:pt x="1397459" y="691190"/>
                </a:cubicBezTo>
                <a:cubicBezTo>
                  <a:pt x="1490025" y="704984"/>
                  <a:pt x="1465878" y="715604"/>
                  <a:pt x="1580688" y="693697"/>
                </a:cubicBezTo>
                <a:cubicBezTo>
                  <a:pt x="1607067" y="704379"/>
                  <a:pt x="1719477" y="658239"/>
                  <a:pt x="1772334" y="710640"/>
                </a:cubicBezTo>
                <a:cubicBezTo>
                  <a:pt x="1745536" y="644824"/>
                  <a:pt x="1976078" y="716436"/>
                  <a:pt x="2002561" y="659917"/>
                </a:cubicBezTo>
                <a:cubicBezTo>
                  <a:pt x="2045346" y="660357"/>
                  <a:pt x="2166676" y="654391"/>
                  <a:pt x="2135144" y="636501"/>
                </a:cubicBezTo>
                <a:cubicBezTo>
                  <a:pt x="2276591" y="665055"/>
                  <a:pt x="2293173" y="591792"/>
                  <a:pt x="2440292" y="593862"/>
                </a:cubicBezTo>
                <a:cubicBezTo>
                  <a:pt x="2495160" y="534824"/>
                  <a:pt x="2473343" y="585644"/>
                  <a:pt x="2547829" y="566150"/>
                </a:cubicBezTo>
                <a:cubicBezTo>
                  <a:pt x="2545438" y="614169"/>
                  <a:pt x="2632278" y="528280"/>
                  <a:pt x="2658055" y="578727"/>
                </a:cubicBezTo>
                <a:cubicBezTo>
                  <a:pt x="2670795" y="573581"/>
                  <a:pt x="2682322" y="567005"/>
                  <a:pt x="2693698" y="560029"/>
                </a:cubicBezTo>
                <a:lnTo>
                  <a:pt x="2699673" y="556400"/>
                </a:lnTo>
                <a:lnTo>
                  <a:pt x="2727306" y="550698"/>
                </a:lnTo>
                <a:lnTo>
                  <a:pt x="2730451" y="538058"/>
                </a:lnTo>
                <a:lnTo>
                  <a:pt x="2768713" y="521575"/>
                </a:lnTo>
                <a:cubicBezTo>
                  <a:pt x="2783756" y="517104"/>
                  <a:pt x="2800788" y="514291"/>
                  <a:pt x="2820868" y="514160"/>
                </a:cubicBezTo>
                <a:cubicBezTo>
                  <a:pt x="2894791" y="532885"/>
                  <a:pt x="2981506" y="465507"/>
                  <a:pt x="3073635" y="491294"/>
                </a:cubicBezTo>
                <a:cubicBezTo>
                  <a:pt x="3106872" y="496624"/>
                  <a:pt x="3205785" y="487718"/>
                  <a:pt x="3222071" y="470559"/>
                </a:cubicBezTo>
                <a:cubicBezTo>
                  <a:pt x="3242193" y="465514"/>
                  <a:pt x="3267163" y="469136"/>
                  <a:pt x="3274069" y="451605"/>
                </a:cubicBezTo>
                <a:cubicBezTo>
                  <a:pt x="3286659" y="430165"/>
                  <a:pt x="3363648" y="455571"/>
                  <a:pt x="3349632" y="432583"/>
                </a:cubicBezTo>
                <a:cubicBezTo>
                  <a:pt x="3404182" y="449847"/>
                  <a:pt x="3438210" y="404323"/>
                  <a:pt x="3479593" y="390437"/>
                </a:cubicBezTo>
                <a:cubicBezTo>
                  <a:pt x="3523240" y="408403"/>
                  <a:pt x="3567027" y="361554"/>
                  <a:pt x="3660110" y="348726"/>
                </a:cubicBezTo>
                <a:cubicBezTo>
                  <a:pt x="3708299" y="369683"/>
                  <a:pt x="3662447" y="344775"/>
                  <a:pt x="3750023" y="370678"/>
                </a:cubicBezTo>
                <a:cubicBezTo>
                  <a:pt x="3752092" y="367132"/>
                  <a:pt x="3816880" y="365055"/>
                  <a:pt x="3844133" y="360648"/>
                </a:cubicBezTo>
                <a:cubicBezTo>
                  <a:pt x="3871386" y="356240"/>
                  <a:pt x="3882848" y="332490"/>
                  <a:pt x="3913545" y="344235"/>
                </a:cubicBezTo>
                <a:cubicBezTo>
                  <a:pt x="4050255" y="376864"/>
                  <a:pt x="4159924" y="363190"/>
                  <a:pt x="4266740" y="361454"/>
                </a:cubicBezTo>
                <a:cubicBezTo>
                  <a:pt x="4385770" y="354374"/>
                  <a:pt x="4314535" y="340143"/>
                  <a:pt x="4430770" y="342643"/>
                </a:cubicBezTo>
                <a:cubicBezTo>
                  <a:pt x="4439969" y="322594"/>
                  <a:pt x="4478290" y="314645"/>
                  <a:pt x="4512664" y="319948"/>
                </a:cubicBezTo>
                <a:cubicBezTo>
                  <a:pt x="4570011" y="315138"/>
                  <a:pt x="4549085" y="269599"/>
                  <a:pt x="4616423" y="290914"/>
                </a:cubicBezTo>
                <a:cubicBezTo>
                  <a:pt x="4599641" y="270277"/>
                  <a:pt x="4692085" y="269216"/>
                  <a:pt x="4691675" y="254011"/>
                </a:cubicBezTo>
                <a:lnTo>
                  <a:pt x="4689051" y="250968"/>
                </a:lnTo>
                <a:lnTo>
                  <a:pt x="4719994" y="245307"/>
                </a:lnTo>
                <a:cubicBezTo>
                  <a:pt x="4732635" y="242775"/>
                  <a:pt x="4745300" y="240335"/>
                  <a:pt x="4752894" y="239875"/>
                </a:cubicBezTo>
                <a:lnTo>
                  <a:pt x="4769329" y="233585"/>
                </a:lnTo>
                <a:lnTo>
                  <a:pt x="4775634" y="234063"/>
                </a:lnTo>
                <a:lnTo>
                  <a:pt x="4790452" y="233572"/>
                </a:lnTo>
                <a:cubicBezTo>
                  <a:pt x="4789989" y="236356"/>
                  <a:pt x="4789525" y="239141"/>
                  <a:pt x="4789062" y="241924"/>
                </a:cubicBezTo>
                <a:cubicBezTo>
                  <a:pt x="4786342" y="249932"/>
                  <a:pt x="4804560" y="248631"/>
                  <a:pt x="4827826" y="246977"/>
                </a:cubicBezTo>
                <a:cubicBezTo>
                  <a:pt x="4875782" y="239569"/>
                  <a:pt x="4874112" y="283413"/>
                  <a:pt x="4892569" y="249933"/>
                </a:cubicBezTo>
                <a:lnTo>
                  <a:pt x="4896611" y="240448"/>
                </a:lnTo>
                <a:lnTo>
                  <a:pt x="4917286" y="243659"/>
                </a:lnTo>
                <a:cubicBezTo>
                  <a:pt x="4923060" y="243799"/>
                  <a:pt x="4981729" y="240979"/>
                  <a:pt x="4981173" y="247103"/>
                </a:cubicBezTo>
                <a:cubicBezTo>
                  <a:pt x="5024880" y="220690"/>
                  <a:pt x="5014146" y="257963"/>
                  <a:pt x="5060397" y="263688"/>
                </a:cubicBezTo>
                <a:cubicBezTo>
                  <a:pt x="5093356" y="238589"/>
                  <a:pt x="5157892" y="275351"/>
                  <a:pt x="5252996" y="270655"/>
                </a:cubicBezTo>
                <a:cubicBezTo>
                  <a:pt x="5288840" y="241872"/>
                  <a:pt x="5287005" y="287921"/>
                  <a:pt x="5358056" y="247248"/>
                </a:cubicBezTo>
                <a:cubicBezTo>
                  <a:pt x="5361752" y="250257"/>
                  <a:pt x="5403312" y="238215"/>
                  <a:pt x="5426496" y="235142"/>
                </a:cubicBezTo>
                <a:cubicBezTo>
                  <a:pt x="5449679" y="232069"/>
                  <a:pt x="5473549" y="245611"/>
                  <a:pt x="5497161" y="228808"/>
                </a:cubicBezTo>
                <a:cubicBezTo>
                  <a:pt x="5611861" y="172767"/>
                  <a:pt x="5723211" y="165860"/>
                  <a:pt x="5826043" y="148073"/>
                </a:cubicBezTo>
                <a:cubicBezTo>
                  <a:pt x="5943127" y="133166"/>
                  <a:pt x="5872659" y="193078"/>
                  <a:pt x="6013415" y="137316"/>
                </a:cubicBezTo>
                <a:cubicBezTo>
                  <a:pt x="6031924" y="154783"/>
                  <a:pt x="6050745" y="154258"/>
                  <a:pt x="6080994" y="142938"/>
                </a:cubicBezTo>
                <a:cubicBezTo>
                  <a:pt x="6138083" y="137090"/>
                  <a:pt x="6140195" y="184383"/>
                  <a:pt x="6194152" y="151772"/>
                </a:cubicBezTo>
                <a:cubicBezTo>
                  <a:pt x="6187280" y="177783"/>
                  <a:pt x="6304222" y="153410"/>
                  <a:pt x="6281379" y="181626"/>
                </a:cubicBezTo>
                <a:cubicBezTo>
                  <a:pt x="6321899" y="201819"/>
                  <a:pt x="6335111" y="162590"/>
                  <a:pt x="6374947" y="179799"/>
                </a:cubicBezTo>
                <a:cubicBezTo>
                  <a:pt x="6417404" y="181336"/>
                  <a:pt x="6402484" y="169694"/>
                  <a:pt x="6448518" y="164378"/>
                </a:cubicBezTo>
                <a:cubicBezTo>
                  <a:pt x="6504958" y="162488"/>
                  <a:pt x="6493438" y="111203"/>
                  <a:pt x="6544700" y="167161"/>
                </a:cubicBezTo>
                <a:cubicBezTo>
                  <a:pt x="6601507" y="148697"/>
                  <a:pt x="6566269" y="164386"/>
                  <a:pt x="6648353" y="172250"/>
                </a:cubicBezTo>
                <a:cubicBezTo>
                  <a:pt x="6680008" y="155223"/>
                  <a:pt x="6707960" y="160673"/>
                  <a:pt x="6736227" y="173216"/>
                </a:cubicBezTo>
                <a:cubicBezTo>
                  <a:pt x="6813963" y="164284"/>
                  <a:pt x="6888143" y="181296"/>
                  <a:pt x="6977218" y="184289"/>
                </a:cubicBezTo>
                <a:cubicBezTo>
                  <a:pt x="7040424" y="188318"/>
                  <a:pt x="7000278" y="216835"/>
                  <a:pt x="7065221" y="227531"/>
                </a:cubicBezTo>
                <a:cubicBezTo>
                  <a:pt x="7130163" y="238228"/>
                  <a:pt x="7291878" y="238208"/>
                  <a:pt x="7366876" y="248468"/>
                </a:cubicBezTo>
                <a:cubicBezTo>
                  <a:pt x="7491356" y="206752"/>
                  <a:pt x="7367734" y="280166"/>
                  <a:pt x="7565449" y="258950"/>
                </a:cubicBezTo>
                <a:cubicBezTo>
                  <a:pt x="7575959" y="252432"/>
                  <a:pt x="7600854" y="257628"/>
                  <a:pt x="7599285" y="266021"/>
                </a:cubicBezTo>
                <a:cubicBezTo>
                  <a:pt x="7611616" y="262940"/>
                  <a:pt x="7639946" y="245819"/>
                  <a:pt x="7644411" y="258986"/>
                </a:cubicBezTo>
                <a:cubicBezTo>
                  <a:pt x="7708015" y="258012"/>
                  <a:pt x="7770249" y="247724"/>
                  <a:pt x="7825110" y="229109"/>
                </a:cubicBezTo>
                <a:cubicBezTo>
                  <a:pt x="7949762" y="247028"/>
                  <a:pt x="7921956" y="197757"/>
                  <a:pt x="7965804" y="190545"/>
                </a:cubicBezTo>
                <a:cubicBezTo>
                  <a:pt x="8039439" y="213878"/>
                  <a:pt x="8063651" y="191475"/>
                  <a:pt x="8147401" y="205617"/>
                </a:cubicBezTo>
                <a:cubicBezTo>
                  <a:pt x="8166453" y="196610"/>
                  <a:pt x="8225048" y="207099"/>
                  <a:pt x="8256033" y="193713"/>
                </a:cubicBezTo>
                <a:cubicBezTo>
                  <a:pt x="8311388" y="242017"/>
                  <a:pt x="8350376" y="178592"/>
                  <a:pt x="8410677" y="172167"/>
                </a:cubicBezTo>
                <a:cubicBezTo>
                  <a:pt x="8470978" y="165743"/>
                  <a:pt x="8572470" y="206385"/>
                  <a:pt x="8617841" y="155167"/>
                </a:cubicBezTo>
                <a:cubicBezTo>
                  <a:pt x="8646050" y="160448"/>
                  <a:pt x="8664949" y="183631"/>
                  <a:pt x="8715976" y="178374"/>
                </a:cubicBezTo>
                <a:cubicBezTo>
                  <a:pt x="8737194" y="188216"/>
                  <a:pt x="8738009" y="189511"/>
                  <a:pt x="8778827" y="172936"/>
                </a:cubicBezTo>
                <a:cubicBezTo>
                  <a:pt x="8725277" y="146372"/>
                  <a:pt x="8850819" y="175612"/>
                  <a:pt x="8840778" y="143149"/>
                </a:cubicBezTo>
                <a:cubicBezTo>
                  <a:pt x="8903519" y="121096"/>
                  <a:pt x="9021861" y="150359"/>
                  <a:pt x="9010380" y="91891"/>
                </a:cubicBezTo>
                <a:cubicBezTo>
                  <a:pt x="9027103" y="56852"/>
                  <a:pt x="9112524" y="108357"/>
                  <a:pt x="9110856" y="70997"/>
                </a:cubicBezTo>
                <a:cubicBezTo>
                  <a:pt x="9148189" y="94250"/>
                  <a:pt x="9209809" y="53285"/>
                  <a:pt x="9268817" y="53082"/>
                </a:cubicBezTo>
                <a:cubicBezTo>
                  <a:pt x="9279135" y="35997"/>
                  <a:pt x="9292736" y="36520"/>
                  <a:pt x="9316667" y="45047"/>
                </a:cubicBezTo>
                <a:cubicBezTo>
                  <a:pt x="9352186" y="45862"/>
                  <a:pt x="9390008" y="39799"/>
                  <a:pt x="9428209" y="29923"/>
                </a:cubicBez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Recorded Sound">
            <a:hlinkClick r:id="" action="ppaction://media"/>
            <a:extLst>
              <a:ext uri="{FF2B5EF4-FFF2-40B4-BE49-F238E27FC236}">
                <a16:creationId xmlns:a16="http://schemas.microsoft.com/office/drawing/2014/main" id="{E6310481-F08E-2082-4D3D-185A0F508372}"/>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445500" y="6109648"/>
            <a:ext cx="609600" cy="6096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360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C9A36457-A5F4-4103-A443-02581C0918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DC5FB7E8-B636-40FA-BE8D-48145C0F5C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
            <a:ext cx="9144000" cy="2295238"/>
          </a:xfrm>
          <a:custGeom>
            <a:avLst/>
            <a:gdLst>
              <a:gd name="connsiteX0" fmla="*/ 12160143 w 12192000"/>
              <a:gd name="connsiteY0" fmla="*/ 831692 h 2079137"/>
              <a:gd name="connsiteX1" fmla="*/ 12159112 w 12192000"/>
              <a:gd name="connsiteY1" fmla="*/ 833361 h 2079137"/>
              <a:gd name="connsiteX2" fmla="*/ 12158912 w 12192000"/>
              <a:gd name="connsiteY2" fmla="*/ 832430 h 2079137"/>
              <a:gd name="connsiteX3" fmla="*/ 0 w 12192000"/>
              <a:gd name="connsiteY3" fmla="*/ 0 h 2079137"/>
              <a:gd name="connsiteX4" fmla="*/ 12192000 w 12192000"/>
              <a:gd name="connsiteY4" fmla="*/ 0 h 2079137"/>
              <a:gd name="connsiteX5" fmla="*/ 12192000 w 12192000"/>
              <a:gd name="connsiteY5" fmla="*/ 558063 h 2079137"/>
              <a:gd name="connsiteX6" fmla="*/ 12189259 w 12192000"/>
              <a:gd name="connsiteY6" fmla="*/ 810508 h 2079137"/>
              <a:gd name="connsiteX7" fmla="*/ 12170847 w 12192000"/>
              <a:gd name="connsiteY7" fmla="*/ 825280 h 2079137"/>
              <a:gd name="connsiteX8" fmla="*/ 12160143 w 12192000"/>
              <a:gd name="connsiteY8" fmla="*/ 831692 h 2079137"/>
              <a:gd name="connsiteX9" fmla="*/ 12163806 w 12192000"/>
              <a:gd name="connsiteY9" fmla="*/ 825759 h 2079137"/>
              <a:gd name="connsiteX10" fmla="*/ 12056557 w 12192000"/>
              <a:gd name="connsiteY10" fmla="*/ 810176 h 2079137"/>
              <a:gd name="connsiteX11" fmla="*/ 11900316 w 12192000"/>
              <a:gd name="connsiteY11" fmla="*/ 789618 h 2079137"/>
              <a:gd name="connsiteX12" fmla="*/ 11791206 w 12192000"/>
              <a:gd name="connsiteY12" fmla="*/ 824176 h 2079137"/>
              <a:gd name="connsiteX13" fmla="*/ 11659257 w 12192000"/>
              <a:gd name="connsiteY13" fmla="*/ 800841 h 2079137"/>
              <a:gd name="connsiteX14" fmla="*/ 11569789 w 12192000"/>
              <a:gd name="connsiteY14" fmla="*/ 797135 h 2079137"/>
              <a:gd name="connsiteX15" fmla="*/ 11367885 w 12192000"/>
              <a:gd name="connsiteY15" fmla="*/ 791985 h 2079137"/>
              <a:gd name="connsiteX16" fmla="*/ 11174663 w 12192000"/>
              <a:gd name="connsiteY16" fmla="*/ 788721 h 2079137"/>
              <a:gd name="connsiteX17" fmla="*/ 11068220 w 12192000"/>
              <a:gd name="connsiteY17" fmla="*/ 786994 h 2079137"/>
              <a:gd name="connsiteX18" fmla="*/ 10893266 w 12192000"/>
              <a:gd name="connsiteY18" fmla="*/ 794013 h 2079137"/>
              <a:gd name="connsiteX19" fmla="*/ 10844025 w 12192000"/>
              <a:gd name="connsiteY19" fmla="*/ 789857 h 2079137"/>
              <a:gd name="connsiteX20" fmla="*/ 10814353 w 12192000"/>
              <a:gd name="connsiteY20" fmla="*/ 789010 h 2079137"/>
              <a:gd name="connsiteX21" fmla="*/ 10748393 w 12192000"/>
              <a:gd name="connsiteY21" fmla="*/ 806738 h 2079137"/>
              <a:gd name="connsiteX22" fmla="*/ 10468256 w 12192000"/>
              <a:gd name="connsiteY22" fmla="*/ 778733 h 2079137"/>
              <a:gd name="connsiteX23" fmla="*/ 10256131 w 12192000"/>
              <a:gd name="connsiteY23" fmla="*/ 788332 h 2079137"/>
              <a:gd name="connsiteX24" fmla="*/ 10177442 w 12192000"/>
              <a:gd name="connsiteY24" fmla="*/ 777371 h 2079137"/>
              <a:gd name="connsiteX25" fmla="*/ 10006086 w 12192000"/>
              <a:gd name="connsiteY25" fmla="*/ 792651 h 2079137"/>
              <a:gd name="connsiteX26" fmla="*/ 9952382 w 12192000"/>
              <a:gd name="connsiteY26" fmla="*/ 815411 h 2079137"/>
              <a:gd name="connsiteX27" fmla="*/ 9926457 w 12192000"/>
              <a:gd name="connsiteY27" fmla="*/ 827295 h 2079137"/>
              <a:gd name="connsiteX28" fmla="*/ 9843405 w 12192000"/>
              <a:gd name="connsiteY28" fmla="*/ 867046 h 2079137"/>
              <a:gd name="connsiteX29" fmla="*/ 9830866 w 12192000"/>
              <a:gd name="connsiteY29" fmla="*/ 875047 h 2079137"/>
              <a:gd name="connsiteX30" fmla="*/ 9801807 w 12192000"/>
              <a:gd name="connsiteY30" fmla="*/ 872272 h 2079137"/>
              <a:gd name="connsiteX31" fmla="*/ 9785653 w 12192000"/>
              <a:gd name="connsiteY31" fmla="*/ 861743 h 2079137"/>
              <a:gd name="connsiteX32" fmla="*/ 9781177 w 12192000"/>
              <a:gd name="connsiteY32" fmla="*/ 864820 h 2079137"/>
              <a:gd name="connsiteX33" fmla="*/ 9768640 w 12192000"/>
              <a:gd name="connsiteY33" fmla="*/ 869379 h 2079137"/>
              <a:gd name="connsiteX34" fmla="*/ 9712211 w 12192000"/>
              <a:gd name="connsiteY34" fmla="*/ 900283 h 2079137"/>
              <a:gd name="connsiteX35" fmla="*/ 9689465 w 12192000"/>
              <a:gd name="connsiteY35" fmla="*/ 899268 h 2079137"/>
              <a:gd name="connsiteX36" fmla="*/ 9600339 w 12192000"/>
              <a:gd name="connsiteY36" fmla="*/ 922112 h 2079137"/>
              <a:gd name="connsiteX37" fmla="*/ 9582850 w 12192000"/>
              <a:gd name="connsiteY37" fmla="*/ 925510 h 2079137"/>
              <a:gd name="connsiteX38" fmla="*/ 9549638 w 12192000"/>
              <a:gd name="connsiteY38" fmla="*/ 940845 h 2079137"/>
              <a:gd name="connsiteX39" fmla="*/ 9539471 w 12192000"/>
              <a:gd name="connsiteY39" fmla="*/ 941799 h 2079137"/>
              <a:gd name="connsiteX40" fmla="*/ 9505592 w 12192000"/>
              <a:gd name="connsiteY40" fmla="*/ 955533 h 2079137"/>
              <a:gd name="connsiteX41" fmla="*/ 9432569 w 12192000"/>
              <a:gd name="connsiteY41" fmla="*/ 985377 h 2079137"/>
              <a:gd name="connsiteX42" fmla="*/ 9414216 w 12192000"/>
              <a:gd name="connsiteY42" fmla="*/ 992655 h 2079137"/>
              <a:gd name="connsiteX43" fmla="*/ 9397106 w 12192000"/>
              <a:gd name="connsiteY43" fmla="*/ 992980 h 2079137"/>
              <a:gd name="connsiteX44" fmla="*/ 9305108 w 12192000"/>
              <a:gd name="connsiteY44" fmla="*/ 1007767 h 2079137"/>
              <a:gd name="connsiteX45" fmla="*/ 9282434 w 12192000"/>
              <a:gd name="connsiteY45" fmla="*/ 1007523 h 2079137"/>
              <a:gd name="connsiteX46" fmla="*/ 9271941 w 12192000"/>
              <a:gd name="connsiteY46" fmla="*/ 1002839 h 2079137"/>
              <a:gd name="connsiteX47" fmla="*/ 9238227 w 12192000"/>
              <a:gd name="connsiteY47" fmla="*/ 1017668 h 2079137"/>
              <a:gd name="connsiteX48" fmla="*/ 9184265 w 12192000"/>
              <a:gd name="connsiteY48" fmla="*/ 1031275 h 2079137"/>
              <a:gd name="connsiteX49" fmla="*/ 9159000 w 12192000"/>
              <a:gd name="connsiteY49" fmla="*/ 1039569 h 2079137"/>
              <a:gd name="connsiteX50" fmla="*/ 9137031 w 12192000"/>
              <a:gd name="connsiteY50" fmla="*/ 1038699 h 2079137"/>
              <a:gd name="connsiteX51" fmla="*/ 9015702 w 12192000"/>
              <a:gd name="connsiteY51" fmla="*/ 1051400 h 2079137"/>
              <a:gd name="connsiteX52" fmla="*/ 8971403 w 12192000"/>
              <a:gd name="connsiteY52" fmla="*/ 1040542 h 2079137"/>
              <a:gd name="connsiteX53" fmla="*/ 8961826 w 12192000"/>
              <a:gd name="connsiteY53" fmla="*/ 1045364 h 2079137"/>
              <a:gd name="connsiteX54" fmla="*/ 8888623 w 12192000"/>
              <a:gd name="connsiteY54" fmla="*/ 1053908 h 2079137"/>
              <a:gd name="connsiteX55" fmla="*/ 8841066 w 12192000"/>
              <a:gd name="connsiteY55" fmla="*/ 1060421 h 2079137"/>
              <a:gd name="connsiteX56" fmla="*/ 8752342 w 12192000"/>
              <a:gd name="connsiteY56" fmla="*/ 1080646 h 2079137"/>
              <a:gd name="connsiteX57" fmla="*/ 8699139 w 12192000"/>
              <a:gd name="connsiteY57" fmla="*/ 1087885 h 2079137"/>
              <a:gd name="connsiteX58" fmla="*/ 8667273 w 12192000"/>
              <a:gd name="connsiteY58" fmla="*/ 1092062 h 2079137"/>
              <a:gd name="connsiteX59" fmla="*/ 8586064 w 12192000"/>
              <a:gd name="connsiteY59" fmla="*/ 1114603 h 2079137"/>
              <a:gd name="connsiteX60" fmla="*/ 8460312 w 12192000"/>
              <a:gd name="connsiteY60" fmla="*/ 1179878 h 2079137"/>
              <a:gd name="connsiteX61" fmla="*/ 8419023 w 12192000"/>
              <a:gd name="connsiteY61" fmla="*/ 1191748 h 2079137"/>
              <a:gd name="connsiteX62" fmla="*/ 8410939 w 12192000"/>
              <a:gd name="connsiteY62" fmla="*/ 1189696 h 2079137"/>
              <a:gd name="connsiteX63" fmla="*/ 8362040 w 12192000"/>
              <a:gd name="connsiteY63" fmla="*/ 1220820 h 2079137"/>
              <a:gd name="connsiteX64" fmla="*/ 8273677 w 12192000"/>
              <a:gd name="connsiteY64" fmla="*/ 1236495 h 2079137"/>
              <a:gd name="connsiteX65" fmla="*/ 8204283 w 12192000"/>
              <a:gd name="connsiteY65" fmla="*/ 1243537 h 2079137"/>
              <a:gd name="connsiteX66" fmla="*/ 8166550 w 12192000"/>
              <a:gd name="connsiteY66" fmla="*/ 1249551 h 2079137"/>
              <a:gd name="connsiteX67" fmla="*/ 8137785 w 12192000"/>
              <a:gd name="connsiteY67" fmla="*/ 1251636 h 2079137"/>
              <a:gd name="connsiteX68" fmla="*/ 8071596 w 12192000"/>
              <a:gd name="connsiteY68" fmla="*/ 1269274 h 2079137"/>
              <a:gd name="connsiteX69" fmla="*/ 7964816 w 12192000"/>
              <a:gd name="connsiteY69" fmla="*/ 1303668 h 2079137"/>
              <a:gd name="connsiteX70" fmla="*/ 7941495 w 12192000"/>
              <a:gd name="connsiteY70" fmla="*/ 1309821 h 2079137"/>
              <a:gd name="connsiteX71" fmla="*/ 7919123 w 12192000"/>
              <a:gd name="connsiteY71" fmla="*/ 1310466 h 2079137"/>
              <a:gd name="connsiteX72" fmla="*/ 7911902 w 12192000"/>
              <a:gd name="connsiteY72" fmla="*/ 1306569 h 2079137"/>
              <a:gd name="connsiteX73" fmla="*/ 7898703 w 12192000"/>
              <a:gd name="connsiteY73" fmla="*/ 1309208 h 2079137"/>
              <a:gd name="connsiteX74" fmla="*/ 7894703 w 12192000"/>
              <a:gd name="connsiteY74" fmla="*/ 1308939 h 2079137"/>
              <a:gd name="connsiteX75" fmla="*/ 7872267 w 12192000"/>
              <a:gd name="connsiteY75" fmla="*/ 1308370 h 2079137"/>
              <a:gd name="connsiteX76" fmla="*/ 7836454 w 12192000"/>
              <a:gd name="connsiteY76" fmla="*/ 1331265 h 2079137"/>
              <a:gd name="connsiteX77" fmla="*/ 7782451 w 12192000"/>
              <a:gd name="connsiteY77" fmla="*/ 1339601 h 2079137"/>
              <a:gd name="connsiteX78" fmla="*/ 7542969 w 12192000"/>
              <a:gd name="connsiteY78" fmla="*/ 1372495 h 2079137"/>
              <a:gd name="connsiteX79" fmla="*/ 7476832 w 12192000"/>
              <a:gd name="connsiteY79" fmla="*/ 1431655 h 2079137"/>
              <a:gd name="connsiteX80" fmla="*/ 7370237 w 12192000"/>
              <a:gd name="connsiteY80" fmla="*/ 1474339 h 2079137"/>
              <a:gd name="connsiteX81" fmla="*/ 7222223 w 12192000"/>
              <a:gd name="connsiteY81" fmla="*/ 1510199 h 2079137"/>
              <a:gd name="connsiteX82" fmla="*/ 7215703 w 12192000"/>
              <a:gd name="connsiteY82" fmla="*/ 1520424 h 2079137"/>
              <a:gd name="connsiteX83" fmla="*/ 7204548 w 12192000"/>
              <a:gd name="connsiteY83" fmla="*/ 1528145 h 2079137"/>
              <a:gd name="connsiteX84" fmla="*/ 7202038 w 12192000"/>
              <a:gd name="connsiteY84" fmla="*/ 1527954 h 2079137"/>
              <a:gd name="connsiteX85" fmla="*/ 7173860 w 12192000"/>
              <a:gd name="connsiteY85" fmla="*/ 1541605 h 2079137"/>
              <a:gd name="connsiteX86" fmla="*/ 7155079 w 12192000"/>
              <a:gd name="connsiteY86" fmla="*/ 1552495 h 2079137"/>
              <a:gd name="connsiteX87" fmla="*/ 7149757 w 12192000"/>
              <a:gd name="connsiteY87" fmla="*/ 1552732 h 2079137"/>
              <a:gd name="connsiteX88" fmla="*/ 7104804 w 12192000"/>
              <a:gd name="connsiteY88" fmla="*/ 1565792 h 2079137"/>
              <a:gd name="connsiteX89" fmla="*/ 7082824 w 12192000"/>
              <a:gd name="connsiteY89" fmla="*/ 1567947 h 2079137"/>
              <a:gd name="connsiteX90" fmla="*/ 7021520 w 12192000"/>
              <a:gd name="connsiteY90" fmla="*/ 1562334 h 2079137"/>
              <a:gd name="connsiteX91" fmla="*/ 6988956 w 12192000"/>
              <a:gd name="connsiteY91" fmla="*/ 1576442 h 2079137"/>
              <a:gd name="connsiteX92" fmla="*/ 6981922 w 12192000"/>
              <a:gd name="connsiteY92" fmla="*/ 1578821 h 2079137"/>
              <a:gd name="connsiteX93" fmla="*/ 6981583 w 12192000"/>
              <a:gd name="connsiteY93" fmla="*/ 1578678 h 2079137"/>
              <a:gd name="connsiteX94" fmla="*/ 6973762 w 12192000"/>
              <a:gd name="connsiteY94" fmla="*/ 1580811 h 2079137"/>
              <a:gd name="connsiteX95" fmla="*/ 6969093 w 12192000"/>
              <a:gd name="connsiteY95" fmla="*/ 1583157 h 2079137"/>
              <a:gd name="connsiteX96" fmla="*/ 6890037 w 12192000"/>
              <a:gd name="connsiteY96" fmla="*/ 1575825 h 2079137"/>
              <a:gd name="connsiteX97" fmla="*/ 6785054 w 12192000"/>
              <a:gd name="connsiteY97" fmla="*/ 1582200 h 2079137"/>
              <a:gd name="connsiteX98" fmla="*/ 6681692 w 12192000"/>
              <a:gd name="connsiteY98" fmla="*/ 1591296 h 2079137"/>
              <a:gd name="connsiteX99" fmla="*/ 6644556 w 12192000"/>
              <a:gd name="connsiteY99" fmla="*/ 1595940 h 2079137"/>
              <a:gd name="connsiteX100" fmla="*/ 6577106 w 12192000"/>
              <a:gd name="connsiteY100" fmla="*/ 1598261 h 2079137"/>
              <a:gd name="connsiteX101" fmla="*/ 6544183 w 12192000"/>
              <a:gd name="connsiteY101" fmla="*/ 1596149 h 2079137"/>
              <a:gd name="connsiteX102" fmla="*/ 6540921 w 12192000"/>
              <a:gd name="connsiteY102" fmla="*/ 1593857 h 2079137"/>
              <a:gd name="connsiteX103" fmla="*/ 6535046 w 12192000"/>
              <a:gd name="connsiteY103" fmla="*/ 1593283 h 2079137"/>
              <a:gd name="connsiteX104" fmla="*/ 6519853 w 12192000"/>
              <a:gd name="connsiteY104" fmla="*/ 1595771 h 2079137"/>
              <a:gd name="connsiteX105" fmla="*/ 6514280 w 12192000"/>
              <a:gd name="connsiteY105" fmla="*/ 1597376 h 2079137"/>
              <a:gd name="connsiteX106" fmla="*/ 6505824 w 12192000"/>
              <a:gd name="connsiteY106" fmla="*/ 1598298 h 2079137"/>
              <a:gd name="connsiteX107" fmla="*/ 6505573 w 12192000"/>
              <a:gd name="connsiteY107" fmla="*/ 1598109 h 2079137"/>
              <a:gd name="connsiteX108" fmla="*/ 6497741 w 12192000"/>
              <a:gd name="connsiteY108" fmla="*/ 1599392 h 2079137"/>
              <a:gd name="connsiteX109" fmla="*/ 6459992 w 12192000"/>
              <a:gd name="connsiteY109" fmla="*/ 1608358 h 2079137"/>
              <a:gd name="connsiteX110" fmla="*/ 6404572 w 12192000"/>
              <a:gd name="connsiteY110" fmla="*/ 1593771 h 2079137"/>
              <a:gd name="connsiteX111" fmla="*/ 6382671 w 12192000"/>
              <a:gd name="connsiteY111" fmla="*/ 1592612 h 2079137"/>
              <a:gd name="connsiteX112" fmla="*/ 6369843 w 12192000"/>
              <a:gd name="connsiteY112" fmla="*/ 1590015 h 2079137"/>
              <a:gd name="connsiteX113" fmla="*/ 6269740 w 12192000"/>
              <a:gd name="connsiteY113" fmla="*/ 1614633 h 2079137"/>
              <a:gd name="connsiteX114" fmla="*/ 6255405 w 12192000"/>
              <a:gd name="connsiteY114" fmla="*/ 1620529 h 2079137"/>
              <a:gd name="connsiteX115" fmla="*/ 6244248 w 12192000"/>
              <a:gd name="connsiteY115" fmla="*/ 1629561 h 2079137"/>
              <a:gd name="connsiteX116" fmla="*/ 6086396 w 12192000"/>
              <a:gd name="connsiteY116" fmla="*/ 1642666 h 2079137"/>
              <a:gd name="connsiteX117" fmla="*/ 5867429 w 12192000"/>
              <a:gd name="connsiteY117" fmla="*/ 1695554 h 2079137"/>
              <a:gd name="connsiteX118" fmla="*/ 5772864 w 12192000"/>
              <a:gd name="connsiteY118" fmla="*/ 1689002 h 2079137"/>
              <a:gd name="connsiteX119" fmla="*/ 5629833 w 12192000"/>
              <a:gd name="connsiteY119" fmla="*/ 1713273 h 2079137"/>
              <a:gd name="connsiteX120" fmla="*/ 5504771 w 12192000"/>
              <a:gd name="connsiteY120" fmla="*/ 1725744 h 2079137"/>
              <a:gd name="connsiteX121" fmla="*/ 5490967 w 12192000"/>
              <a:gd name="connsiteY121" fmla="*/ 1726367 h 2079137"/>
              <a:gd name="connsiteX122" fmla="*/ 5486015 w 12192000"/>
              <a:gd name="connsiteY122" fmla="*/ 1721481 h 2079137"/>
              <a:gd name="connsiteX123" fmla="*/ 5439364 w 12192000"/>
              <a:gd name="connsiteY123" fmla="*/ 1721349 h 2079137"/>
              <a:gd name="connsiteX124" fmla="*/ 5350025 w 12192000"/>
              <a:gd name="connsiteY124" fmla="*/ 1729885 h 2079137"/>
              <a:gd name="connsiteX125" fmla="*/ 5336104 w 12192000"/>
              <a:gd name="connsiteY125" fmla="*/ 1734377 h 2079137"/>
              <a:gd name="connsiteX126" fmla="*/ 5245234 w 12192000"/>
              <a:gd name="connsiteY126" fmla="*/ 1738520 h 2079137"/>
              <a:gd name="connsiteX127" fmla="*/ 5182955 w 12192000"/>
              <a:gd name="connsiteY127" fmla="*/ 1744622 h 2079137"/>
              <a:gd name="connsiteX128" fmla="*/ 5169506 w 12192000"/>
              <a:gd name="connsiteY128" fmla="*/ 1748993 h 2079137"/>
              <a:gd name="connsiteX129" fmla="*/ 5154299 w 12192000"/>
              <a:gd name="connsiteY129" fmla="*/ 1744080 h 2079137"/>
              <a:gd name="connsiteX130" fmla="*/ 5149917 w 12192000"/>
              <a:gd name="connsiteY130" fmla="*/ 1739727 h 2079137"/>
              <a:gd name="connsiteX131" fmla="*/ 5100319 w 12192000"/>
              <a:gd name="connsiteY131" fmla="*/ 1745797 h 2079137"/>
              <a:gd name="connsiteX132" fmla="*/ 5094361 w 12192000"/>
              <a:gd name="connsiteY132" fmla="*/ 1745767 h 2079137"/>
              <a:gd name="connsiteX133" fmla="*/ 5053410 w 12192000"/>
              <a:gd name="connsiteY133" fmla="*/ 1742790 h 2079137"/>
              <a:gd name="connsiteX134" fmla="*/ 4992711 w 12192000"/>
              <a:gd name="connsiteY134" fmla="*/ 1734075 h 2079137"/>
              <a:gd name="connsiteX135" fmla="*/ 4930098 w 12192000"/>
              <a:gd name="connsiteY135" fmla="*/ 1717312 h 2079137"/>
              <a:gd name="connsiteX136" fmla="*/ 4893834 w 12192000"/>
              <a:gd name="connsiteY136" fmla="*/ 1710028 h 2079137"/>
              <a:gd name="connsiteX137" fmla="*/ 4868730 w 12192000"/>
              <a:gd name="connsiteY137" fmla="*/ 1702384 h 2079137"/>
              <a:gd name="connsiteX138" fmla="*/ 4797925 w 12192000"/>
              <a:gd name="connsiteY138" fmla="*/ 1695535 h 2079137"/>
              <a:gd name="connsiteX139" fmla="*/ 4677670 w 12192000"/>
              <a:gd name="connsiteY139" fmla="*/ 1689453 h 2079137"/>
              <a:gd name="connsiteX140" fmla="*/ 4634248 w 12192000"/>
              <a:gd name="connsiteY140" fmla="*/ 1680227 h 2079137"/>
              <a:gd name="connsiteX141" fmla="*/ 4632434 w 12192000"/>
              <a:gd name="connsiteY141" fmla="*/ 1674607 h 2079137"/>
              <a:gd name="connsiteX142" fmla="*/ 4619204 w 12192000"/>
              <a:gd name="connsiteY142" fmla="*/ 1672507 h 2079137"/>
              <a:gd name="connsiteX143" fmla="*/ 4616283 w 12192000"/>
              <a:gd name="connsiteY143" fmla="*/ 1670977 h 2079137"/>
              <a:gd name="connsiteX144" fmla="*/ 4598926 w 12192000"/>
              <a:gd name="connsiteY144" fmla="*/ 1663178 h 2079137"/>
              <a:gd name="connsiteX145" fmla="*/ 4547069 w 12192000"/>
              <a:gd name="connsiteY145" fmla="*/ 1670642 h 2079137"/>
              <a:gd name="connsiteX146" fmla="*/ 4523516 w 12192000"/>
              <a:gd name="connsiteY146" fmla="*/ 1669785 h 2079137"/>
              <a:gd name="connsiteX147" fmla="*/ 4500586 w 12192000"/>
              <a:gd name="connsiteY147" fmla="*/ 1675912 h 2079137"/>
              <a:gd name="connsiteX148" fmla="*/ 4488196 w 12192000"/>
              <a:gd name="connsiteY148" fmla="*/ 1683463 h 2079137"/>
              <a:gd name="connsiteX149" fmla="*/ 4445463 w 12192000"/>
              <a:gd name="connsiteY149" fmla="*/ 1695634 h 2079137"/>
              <a:gd name="connsiteX150" fmla="*/ 4446550 w 12192000"/>
              <a:gd name="connsiteY150" fmla="*/ 1680538 h 2079137"/>
              <a:gd name="connsiteX151" fmla="*/ 4365375 w 12192000"/>
              <a:gd name="connsiteY151" fmla="*/ 1697935 h 2079137"/>
              <a:gd name="connsiteX152" fmla="*/ 4305123 w 12192000"/>
              <a:gd name="connsiteY152" fmla="*/ 1714185 h 2079137"/>
              <a:gd name="connsiteX153" fmla="*/ 4292665 w 12192000"/>
              <a:gd name="connsiteY153" fmla="*/ 1720703 h 2079137"/>
              <a:gd name="connsiteX154" fmla="*/ 4276789 w 12192000"/>
              <a:gd name="connsiteY154" fmla="*/ 1718367 h 2079137"/>
              <a:gd name="connsiteX155" fmla="*/ 4271683 w 12192000"/>
              <a:gd name="connsiteY155" fmla="*/ 1714801 h 2079137"/>
              <a:gd name="connsiteX156" fmla="*/ 4223918 w 12192000"/>
              <a:gd name="connsiteY156" fmla="*/ 1728936 h 2079137"/>
              <a:gd name="connsiteX157" fmla="*/ 4218039 w 12192000"/>
              <a:gd name="connsiteY157" fmla="*/ 1729885 h 2079137"/>
              <a:gd name="connsiteX158" fmla="*/ 4177153 w 12192000"/>
              <a:gd name="connsiteY158" fmla="*/ 1733691 h 2079137"/>
              <a:gd name="connsiteX159" fmla="*/ 4051032 w 12192000"/>
              <a:gd name="connsiteY159" fmla="*/ 1728886 h 2079137"/>
              <a:gd name="connsiteX160" fmla="*/ 4013978 w 12192000"/>
              <a:gd name="connsiteY160" fmla="*/ 1727679 h 2079137"/>
              <a:gd name="connsiteX161" fmla="*/ 3987857 w 12192000"/>
              <a:gd name="connsiteY161" fmla="*/ 1724282 h 2079137"/>
              <a:gd name="connsiteX162" fmla="*/ 3916852 w 12192000"/>
              <a:gd name="connsiteY162" fmla="*/ 1729184 h 2079137"/>
              <a:gd name="connsiteX163" fmla="*/ 3797263 w 12192000"/>
              <a:gd name="connsiteY163" fmla="*/ 1742976 h 2079137"/>
              <a:gd name="connsiteX164" fmla="*/ 3752806 w 12192000"/>
              <a:gd name="connsiteY164" fmla="*/ 1741033 h 2079137"/>
              <a:gd name="connsiteX165" fmla="*/ 3749997 w 12192000"/>
              <a:gd name="connsiteY165" fmla="*/ 1735799 h 2079137"/>
              <a:gd name="connsiteX166" fmla="*/ 3736582 w 12192000"/>
              <a:gd name="connsiteY166" fmla="*/ 1735907 h 2079137"/>
              <a:gd name="connsiteX167" fmla="*/ 3733428 w 12192000"/>
              <a:gd name="connsiteY167" fmla="*/ 1734881 h 2079137"/>
              <a:gd name="connsiteX168" fmla="*/ 3714911 w 12192000"/>
              <a:gd name="connsiteY168" fmla="*/ 1730056 h 2079137"/>
              <a:gd name="connsiteX169" fmla="*/ 3665172 w 12192000"/>
              <a:gd name="connsiteY169" fmla="*/ 1745936 h 2079137"/>
              <a:gd name="connsiteX170" fmla="*/ 3552006 w 12192000"/>
              <a:gd name="connsiteY170" fmla="*/ 1755220 h 2079137"/>
              <a:gd name="connsiteX171" fmla="*/ 3390301 w 12192000"/>
              <a:gd name="connsiteY171" fmla="*/ 1762546 h 2079137"/>
              <a:gd name="connsiteX172" fmla="*/ 3264312 w 12192000"/>
              <a:gd name="connsiteY172" fmla="*/ 1774620 h 2079137"/>
              <a:gd name="connsiteX173" fmla="*/ 3106901 w 12192000"/>
              <a:gd name="connsiteY173" fmla="*/ 1804264 h 2079137"/>
              <a:gd name="connsiteX174" fmla="*/ 2993303 w 12192000"/>
              <a:gd name="connsiteY174" fmla="*/ 1806542 h 2079137"/>
              <a:gd name="connsiteX175" fmla="*/ 2979115 w 12192000"/>
              <a:gd name="connsiteY175" fmla="*/ 1815432 h 2079137"/>
              <a:gd name="connsiteX176" fmla="*/ 2963118 w 12192000"/>
              <a:gd name="connsiteY176" fmla="*/ 1820962 h 2079137"/>
              <a:gd name="connsiteX177" fmla="*/ 2961156 w 12192000"/>
              <a:gd name="connsiteY177" fmla="*/ 1820297 h 2079137"/>
              <a:gd name="connsiteX178" fmla="*/ 2925719 w 12192000"/>
              <a:gd name="connsiteY178" fmla="*/ 1828468 h 2079137"/>
              <a:gd name="connsiteX179" fmla="*/ 2857951 w 12192000"/>
              <a:gd name="connsiteY179" fmla="*/ 1842496 h 2079137"/>
              <a:gd name="connsiteX180" fmla="*/ 2857427 w 12192000"/>
              <a:gd name="connsiteY180" fmla="*/ 1841591 h 2079137"/>
              <a:gd name="connsiteX181" fmla="*/ 2846731 w 12192000"/>
              <a:gd name="connsiteY181" fmla="*/ 1839316 h 2079137"/>
              <a:gd name="connsiteX182" fmla="*/ 2826290 w 12192000"/>
              <a:gd name="connsiteY182" fmla="*/ 1837274 h 2079137"/>
              <a:gd name="connsiteX183" fmla="*/ 2779146 w 12192000"/>
              <a:gd name="connsiteY183" fmla="*/ 1820071 h 2079137"/>
              <a:gd name="connsiteX184" fmla="*/ 2739608 w 12192000"/>
              <a:gd name="connsiteY184" fmla="*/ 1827861 h 2079137"/>
              <a:gd name="connsiteX185" fmla="*/ 2731631 w 12192000"/>
              <a:gd name="connsiteY185" fmla="*/ 1828881 h 2079137"/>
              <a:gd name="connsiteX186" fmla="*/ 2731464 w 12192000"/>
              <a:gd name="connsiteY186" fmla="*/ 1828677 h 2079137"/>
              <a:gd name="connsiteX187" fmla="*/ 2723037 w 12192000"/>
              <a:gd name="connsiteY187" fmla="*/ 1829303 h 2079137"/>
              <a:gd name="connsiteX188" fmla="*/ 2701616 w 12192000"/>
              <a:gd name="connsiteY188" fmla="*/ 1832725 h 2079137"/>
              <a:gd name="connsiteX189" fmla="*/ 2696239 w 12192000"/>
              <a:gd name="connsiteY189" fmla="*/ 1831904 h 2079137"/>
              <a:gd name="connsiteX190" fmla="*/ 2663445 w 12192000"/>
              <a:gd name="connsiteY190" fmla="*/ 1825958 h 2079137"/>
              <a:gd name="connsiteX191" fmla="*/ 2560925 w 12192000"/>
              <a:gd name="connsiteY191" fmla="*/ 1829094 h 2079137"/>
              <a:gd name="connsiteX192" fmla="*/ 2458739 w 12192000"/>
              <a:gd name="connsiteY192" fmla="*/ 1834479 h 2079137"/>
              <a:gd name="connsiteX193" fmla="*/ 2356074 w 12192000"/>
              <a:gd name="connsiteY193" fmla="*/ 1836991 h 2079137"/>
              <a:gd name="connsiteX194" fmla="*/ 2304241 w 12192000"/>
              <a:gd name="connsiteY194" fmla="*/ 1822021 h 2079137"/>
              <a:gd name="connsiteX195" fmla="*/ 2298362 w 12192000"/>
              <a:gd name="connsiteY195" fmla="*/ 1822125 h 2079137"/>
              <a:gd name="connsiteX196" fmla="*/ 2283527 w 12192000"/>
              <a:gd name="connsiteY196" fmla="*/ 1826361 h 2079137"/>
              <a:gd name="connsiteX197" fmla="*/ 2278150 w 12192000"/>
              <a:gd name="connsiteY197" fmla="*/ 1828604 h 2079137"/>
              <a:gd name="connsiteX198" fmla="*/ 2269853 w 12192000"/>
              <a:gd name="connsiteY198" fmla="*/ 1830502 h 2079137"/>
              <a:gd name="connsiteX199" fmla="*/ 2269585 w 12192000"/>
              <a:gd name="connsiteY199" fmla="*/ 1830341 h 2079137"/>
              <a:gd name="connsiteX200" fmla="*/ 2225332 w 12192000"/>
              <a:gd name="connsiteY200" fmla="*/ 1845825 h 2079137"/>
              <a:gd name="connsiteX201" fmla="*/ 2169048 w 12192000"/>
              <a:gd name="connsiteY201" fmla="*/ 1837658 h 2079137"/>
              <a:gd name="connsiteX202" fmla="*/ 2147231 w 12192000"/>
              <a:gd name="connsiteY202" fmla="*/ 1839027 h 2079137"/>
              <a:gd name="connsiteX203" fmla="*/ 2135241 w 12192000"/>
              <a:gd name="connsiteY203" fmla="*/ 1838652 h 2079137"/>
              <a:gd name="connsiteX204" fmla="*/ 2099215 w 12192000"/>
              <a:gd name="connsiteY204" fmla="*/ 1850768 h 2079137"/>
              <a:gd name="connsiteX205" fmla="*/ 2094046 w 12192000"/>
              <a:gd name="connsiteY205" fmla="*/ 1850806 h 2079137"/>
              <a:gd name="connsiteX206" fmla="*/ 2071850 w 12192000"/>
              <a:gd name="connsiteY206" fmla="*/ 1861319 h 2079137"/>
              <a:gd name="connsiteX207" fmla="*/ 2039607 w 12192000"/>
              <a:gd name="connsiteY207" fmla="*/ 1874318 h 2079137"/>
              <a:gd name="connsiteX208" fmla="*/ 2037289 w 12192000"/>
              <a:gd name="connsiteY208" fmla="*/ 1874025 h 2079137"/>
              <a:gd name="connsiteX209" fmla="*/ 2023615 w 12192000"/>
              <a:gd name="connsiteY209" fmla="*/ 1881562 h 2079137"/>
              <a:gd name="connsiteX210" fmla="*/ 1957176 w 12192000"/>
              <a:gd name="connsiteY210" fmla="*/ 1898709 h 2079137"/>
              <a:gd name="connsiteX211" fmla="*/ 1858081 w 12192000"/>
              <a:gd name="connsiteY211" fmla="*/ 1923144 h 2079137"/>
              <a:gd name="connsiteX212" fmla="*/ 1738865 w 12192000"/>
              <a:gd name="connsiteY212" fmla="*/ 1944965 h 2079137"/>
              <a:gd name="connsiteX213" fmla="*/ 1616692 w 12192000"/>
              <a:gd name="connsiteY213" fmla="*/ 1989107 h 2079137"/>
              <a:gd name="connsiteX214" fmla="*/ 1411898 w 12192000"/>
              <a:gd name="connsiteY214" fmla="*/ 2046254 h 2079137"/>
              <a:gd name="connsiteX215" fmla="*/ 1375780 w 12192000"/>
              <a:gd name="connsiteY215" fmla="*/ 2047961 h 2079137"/>
              <a:gd name="connsiteX216" fmla="*/ 1375707 w 12192000"/>
              <a:gd name="connsiteY216" fmla="*/ 2047981 h 2079137"/>
              <a:gd name="connsiteX217" fmla="*/ 1285585 w 12192000"/>
              <a:gd name="connsiteY217" fmla="*/ 2047113 h 2079137"/>
              <a:gd name="connsiteX218" fmla="*/ 1263658 w 12192000"/>
              <a:gd name="connsiteY218" fmla="*/ 2041397 h 2079137"/>
              <a:gd name="connsiteX219" fmla="*/ 1170403 w 12192000"/>
              <a:gd name="connsiteY219" fmla="*/ 2033399 h 2079137"/>
              <a:gd name="connsiteX220" fmla="*/ 1153718 w 12192000"/>
              <a:gd name="connsiteY220" fmla="*/ 2029576 h 2079137"/>
              <a:gd name="connsiteX221" fmla="*/ 1133937 w 12192000"/>
              <a:gd name="connsiteY221" fmla="*/ 2032149 h 2079137"/>
              <a:gd name="connsiteX222" fmla="*/ 1054999 w 12192000"/>
              <a:gd name="connsiteY222" fmla="*/ 2043242 h 2079137"/>
              <a:gd name="connsiteX223" fmla="*/ 1018405 w 12192000"/>
              <a:gd name="connsiteY223" fmla="*/ 2048281 h 2079137"/>
              <a:gd name="connsiteX224" fmla="*/ 1016563 w 12192000"/>
              <a:gd name="connsiteY224" fmla="*/ 2051718 h 2079137"/>
              <a:gd name="connsiteX225" fmla="*/ 1008284 w 12192000"/>
              <a:gd name="connsiteY225" fmla="*/ 2046742 h 2079137"/>
              <a:gd name="connsiteX226" fmla="*/ 981974 w 12192000"/>
              <a:gd name="connsiteY226" fmla="*/ 2048363 h 2079137"/>
              <a:gd name="connsiteX227" fmla="*/ 971903 w 12192000"/>
              <a:gd name="connsiteY227" fmla="*/ 2053484 h 2079137"/>
              <a:gd name="connsiteX228" fmla="*/ 954015 w 12192000"/>
              <a:gd name="connsiteY228" fmla="*/ 2052529 h 2079137"/>
              <a:gd name="connsiteX229" fmla="*/ 839571 w 12192000"/>
              <a:gd name="connsiteY229" fmla="*/ 2046509 h 2079137"/>
              <a:gd name="connsiteX230" fmla="*/ 823321 w 12192000"/>
              <a:gd name="connsiteY230" fmla="*/ 2054296 h 2079137"/>
              <a:gd name="connsiteX231" fmla="*/ 800990 w 12192000"/>
              <a:gd name="connsiteY231" fmla="*/ 2051523 h 2079137"/>
              <a:gd name="connsiteX232" fmla="*/ 776439 w 12192000"/>
              <a:gd name="connsiteY232" fmla="*/ 2062634 h 2079137"/>
              <a:gd name="connsiteX233" fmla="*/ 763041 w 12192000"/>
              <a:gd name="connsiteY233" fmla="*/ 2063995 h 2079137"/>
              <a:gd name="connsiteX234" fmla="*/ 757863 w 12192000"/>
              <a:gd name="connsiteY234" fmla="*/ 2065877 h 2079137"/>
              <a:gd name="connsiteX235" fmla="*/ 745053 w 12192000"/>
              <a:gd name="connsiteY235" fmla="*/ 2051831 h 2079137"/>
              <a:gd name="connsiteX236" fmla="*/ 722609 w 12192000"/>
              <a:gd name="connsiteY236" fmla="*/ 2049504 h 2079137"/>
              <a:gd name="connsiteX237" fmla="*/ 717618 w 12192000"/>
              <a:gd name="connsiteY237" fmla="*/ 2042131 h 2079137"/>
              <a:gd name="connsiteX238" fmla="*/ 703285 w 12192000"/>
              <a:gd name="connsiteY238" fmla="*/ 2046808 h 2079137"/>
              <a:gd name="connsiteX239" fmla="*/ 680199 w 12192000"/>
              <a:gd name="connsiteY239" fmla="*/ 2051947 h 2079137"/>
              <a:gd name="connsiteX240" fmla="*/ 667351 w 12192000"/>
              <a:gd name="connsiteY240" fmla="*/ 2054469 h 2079137"/>
              <a:gd name="connsiteX241" fmla="*/ 660961 w 12192000"/>
              <a:gd name="connsiteY241" fmla="*/ 2049404 h 2079137"/>
              <a:gd name="connsiteX242" fmla="*/ 638282 w 12192000"/>
              <a:gd name="connsiteY242" fmla="*/ 2060093 h 2079137"/>
              <a:gd name="connsiteX243" fmla="*/ 583551 w 12192000"/>
              <a:gd name="connsiteY243" fmla="*/ 2070197 h 2079137"/>
              <a:gd name="connsiteX244" fmla="*/ 525274 w 12192000"/>
              <a:gd name="connsiteY244" fmla="*/ 2079137 h 2079137"/>
              <a:gd name="connsiteX245" fmla="*/ 405635 w 12192000"/>
              <a:gd name="connsiteY245" fmla="*/ 2059339 h 2079137"/>
              <a:gd name="connsiteX246" fmla="*/ 281555 w 12192000"/>
              <a:gd name="connsiteY246" fmla="*/ 2022847 h 2079137"/>
              <a:gd name="connsiteX247" fmla="*/ 98513 w 12192000"/>
              <a:gd name="connsiteY247" fmla="*/ 1969504 h 2079137"/>
              <a:gd name="connsiteX248" fmla="*/ 56191 w 12192000"/>
              <a:gd name="connsiteY248" fmla="*/ 1950709 h 2079137"/>
              <a:gd name="connsiteX249" fmla="*/ 0 w 12192000"/>
              <a:gd name="connsiteY249" fmla="*/ 1935789 h 20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2192000" h="2079137">
                <a:moveTo>
                  <a:pt x="12160143" y="831692"/>
                </a:moveTo>
                <a:lnTo>
                  <a:pt x="12159112" y="833361"/>
                </a:lnTo>
                <a:cubicBezTo>
                  <a:pt x="12157915" y="833832"/>
                  <a:pt x="12157402" y="833649"/>
                  <a:pt x="12158912" y="832430"/>
                </a:cubicBezTo>
                <a:close/>
                <a:moveTo>
                  <a:pt x="0" y="0"/>
                </a:moveTo>
                <a:lnTo>
                  <a:pt x="12192000" y="0"/>
                </a:lnTo>
                <a:lnTo>
                  <a:pt x="12192000" y="558063"/>
                </a:lnTo>
                <a:lnTo>
                  <a:pt x="12189259" y="810508"/>
                </a:lnTo>
                <a:lnTo>
                  <a:pt x="12170847" y="825280"/>
                </a:lnTo>
                <a:lnTo>
                  <a:pt x="12160143" y="831692"/>
                </a:lnTo>
                <a:lnTo>
                  <a:pt x="12163806" y="825759"/>
                </a:lnTo>
                <a:cubicBezTo>
                  <a:pt x="12125449" y="821525"/>
                  <a:pt x="12082203" y="824698"/>
                  <a:pt x="12056557" y="810176"/>
                </a:cubicBezTo>
                <a:cubicBezTo>
                  <a:pt x="12050902" y="790976"/>
                  <a:pt x="11923731" y="799312"/>
                  <a:pt x="11900316" y="789618"/>
                </a:cubicBezTo>
                <a:cubicBezTo>
                  <a:pt x="11841702" y="803374"/>
                  <a:pt x="11823963" y="832645"/>
                  <a:pt x="11791206" y="824176"/>
                </a:cubicBezTo>
                <a:cubicBezTo>
                  <a:pt x="11768977" y="817380"/>
                  <a:pt x="11683857" y="828947"/>
                  <a:pt x="11659257" y="800841"/>
                </a:cubicBezTo>
                <a:cubicBezTo>
                  <a:pt x="11617173" y="818107"/>
                  <a:pt x="11602556" y="790694"/>
                  <a:pt x="11569789" y="797135"/>
                </a:cubicBezTo>
                <a:cubicBezTo>
                  <a:pt x="11498310" y="795094"/>
                  <a:pt x="11458472" y="819882"/>
                  <a:pt x="11367885" y="791985"/>
                </a:cubicBezTo>
                <a:cubicBezTo>
                  <a:pt x="11325508" y="798158"/>
                  <a:pt x="11266580" y="755023"/>
                  <a:pt x="11174663" y="788721"/>
                </a:cubicBezTo>
                <a:cubicBezTo>
                  <a:pt x="11122703" y="792192"/>
                  <a:pt x="11150009" y="775410"/>
                  <a:pt x="11068220" y="786994"/>
                </a:cubicBezTo>
                <a:cubicBezTo>
                  <a:pt x="11046931" y="759861"/>
                  <a:pt x="10919185" y="793102"/>
                  <a:pt x="10893266" y="794013"/>
                </a:cubicBezTo>
                <a:cubicBezTo>
                  <a:pt x="10874184" y="776189"/>
                  <a:pt x="10862860" y="788743"/>
                  <a:pt x="10844025" y="789857"/>
                </a:cubicBezTo>
                <a:cubicBezTo>
                  <a:pt x="10836453" y="779294"/>
                  <a:pt x="10820690" y="778184"/>
                  <a:pt x="10814353" y="789010"/>
                </a:cubicBezTo>
                <a:cubicBezTo>
                  <a:pt x="10819669" y="816016"/>
                  <a:pt x="10754019" y="789067"/>
                  <a:pt x="10748393" y="806738"/>
                </a:cubicBezTo>
                <a:cubicBezTo>
                  <a:pt x="10687156" y="807873"/>
                  <a:pt x="10550299" y="781800"/>
                  <a:pt x="10468256" y="778733"/>
                </a:cubicBezTo>
                <a:cubicBezTo>
                  <a:pt x="10436666" y="770025"/>
                  <a:pt x="10371995" y="797252"/>
                  <a:pt x="10256131" y="788332"/>
                </a:cubicBezTo>
                <a:cubicBezTo>
                  <a:pt x="10240995" y="781626"/>
                  <a:pt x="10182664" y="765742"/>
                  <a:pt x="10177442" y="777371"/>
                </a:cubicBezTo>
                <a:cubicBezTo>
                  <a:pt x="10141447" y="775683"/>
                  <a:pt x="10030323" y="810071"/>
                  <a:pt x="10006086" y="792651"/>
                </a:cubicBezTo>
                <a:cubicBezTo>
                  <a:pt x="10009448" y="818833"/>
                  <a:pt x="9960389" y="791426"/>
                  <a:pt x="9952382" y="815411"/>
                </a:cubicBezTo>
                <a:lnTo>
                  <a:pt x="9926457" y="827295"/>
                </a:lnTo>
                <a:lnTo>
                  <a:pt x="9843405" y="867046"/>
                </a:lnTo>
                <a:lnTo>
                  <a:pt x="9830866" y="875047"/>
                </a:lnTo>
                <a:lnTo>
                  <a:pt x="9801807" y="872272"/>
                </a:lnTo>
                <a:lnTo>
                  <a:pt x="9785653" y="861743"/>
                </a:lnTo>
                <a:lnTo>
                  <a:pt x="9781177" y="864820"/>
                </a:lnTo>
                <a:cubicBezTo>
                  <a:pt x="9776153" y="871003"/>
                  <a:pt x="9773556" y="874842"/>
                  <a:pt x="9768640" y="869379"/>
                </a:cubicBezTo>
                <a:lnTo>
                  <a:pt x="9712211" y="900283"/>
                </a:lnTo>
                <a:cubicBezTo>
                  <a:pt x="9706243" y="902750"/>
                  <a:pt x="9698952" y="902954"/>
                  <a:pt x="9689465" y="899268"/>
                </a:cubicBezTo>
                <a:cubicBezTo>
                  <a:pt x="9670819" y="902906"/>
                  <a:pt x="9618108" y="917739"/>
                  <a:pt x="9600339" y="922112"/>
                </a:cubicBezTo>
                <a:lnTo>
                  <a:pt x="9582850" y="925510"/>
                </a:lnTo>
                <a:cubicBezTo>
                  <a:pt x="9574400" y="928631"/>
                  <a:pt x="9556868" y="938130"/>
                  <a:pt x="9549638" y="940845"/>
                </a:cubicBezTo>
                <a:cubicBezTo>
                  <a:pt x="9543792" y="942327"/>
                  <a:pt x="9546812" y="939351"/>
                  <a:pt x="9539471" y="941799"/>
                </a:cubicBezTo>
                <a:cubicBezTo>
                  <a:pt x="9538994" y="947702"/>
                  <a:pt x="9536009" y="953248"/>
                  <a:pt x="9505592" y="955533"/>
                </a:cubicBezTo>
                <a:cubicBezTo>
                  <a:pt x="9486013" y="968563"/>
                  <a:pt x="9460860" y="978842"/>
                  <a:pt x="9432569" y="985377"/>
                </a:cubicBezTo>
                <a:cubicBezTo>
                  <a:pt x="9426990" y="980335"/>
                  <a:pt x="9418918" y="990185"/>
                  <a:pt x="9414216" y="992655"/>
                </a:cubicBezTo>
                <a:cubicBezTo>
                  <a:pt x="9412644" y="989014"/>
                  <a:pt x="9400057" y="989255"/>
                  <a:pt x="9397106" y="992980"/>
                </a:cubicBezTo>
                <a:cubicBezTo>
                  <a:pt x="9314093" y="1020862"/>
                  <a:pt x="9349678" y="978420"/>
                  <a:pt x="9305108" y="1007767"/>
                </a:cubicBezTo>
                <a:cubicBezTo>
                  <a:pt x="9296670" y="1010324"/>
                  <a:pt x="9289251" y="1009612"/>
                  <a:pt x="9282434" y="1007523"/>
                </a:cubicBezTo>
                <a:lnTo>
                  <a:pt x="9271941" y="1002839"/>
                </a:lnTo>
                <a:lnTo>
                  <a:pt x="9238227" y="1017668"/>
                </a:lnTo>
                <a:cubicBezTo>
                  <a:pt x="9221294" y="1023415"/>
                  <a:pt x="9203166" y="1027997"/>
                  <a:pt x="9184265" y="1031275"/>
                </a:cubicBezTo>
                <a:cubicBezTo>
                  <a:pt x="9178371" y="1024135"/>
                  <a:pt x="9165618" y="1036637"/>
                  <a:pt x="9159000" y="1039569"/>
                </a:cubicBezTo>
                <a:cubicBezTo>
                  <a:pt x="9157881" y="1034602"/>
                  <a:pt x="9141725" y="1033964"/>
                  <a:pt x="9137031" y="1038699"/>
                </a:cubicBezTo>
                <a:cubicBezTo>
                  <a:pt x="9023973" y="1069523"/>
                  <a:pt x="9079946" y="1015706"/>
                  <a:pt x="9015702" y="1051400"/>
                </a:cubicBezTo>
                <a:lnTo>
                  <a:pt x="8971403" y="1040542"/>
                </a:lnTo>
                <a:lnTo>
                  <a:pt x="8961826" y="1045364"/>
                </a:lnTo>
                <a:cubicBezTo>
                  <a:pt x="8922837" y="1050010"/>
                  <a:pt x="8909116" y="1040754"/>
                  <a:pt x="8888623" y="1053908"/>
                </a:cubicBezTo>
                <a:cubicBezTo>
                  <a:pt x="8850424" y="1035587"/>
                  <a:pt x="8865892" y="1054194"/>
                  <a:pt x="8841066" y="1060421"/>
                </a:cubicBezTo>
                <a:cubicBezTo>
                  <a:pt x="8818353" y="1064878"/>
                  <a:pt x="8775995" y="1076068"/>
                  <a:pt x="8752342" y="1080646"/>
                </a:cubicBezTo>
                <a:cubicBezTo>
                  <a:pt x="8736966" y="1099406"/>
                  <a:pt x="8723186" y="1079948"/>
                  <a:pt x="8699139" y="1087885"/>
                </a:cubicBezTo>
                <a:cubicBezTo>
                  <a:pt x="8688630" y="1095506"/>
                  <a:pt x="8680324" y="1097539"/>
                  <a:pt x="8667273" y="1092062"/>
                </a:cubicBezTo>
                <a:cubicBezTo>
                  <a:pt x="8619205" y="1128818"/>
                  <a:pt x="8634590" y="1097116"/>
                  <a:pt x="8586064" y="1114603"/>
                </a:cubicBezTo>
                <a:cubicBezTo>
                  <a:pt x="8544721" y="1131913"/>
                  <a:pt x="8496602" y="1145520"/>
                  <a:pt x="8460312" y="1179878"/>
                </a:cubicBezTo>
                <a:cubicBezTo>
                  <a:pt x="8454266" y="1189140"/>
                  <a:pt x="8435781" y="1194455"/>
                  <a:pt x="8419023" y="1191748"/>
                </a:cubicBezTo>
                <a:cubicBezTo>
                  <a:pt x="8416138" y="1191283"/>
                  <a:pt x="8413416" y="1190591"/>
                  <a:pt x="8410939" y="1189696"/>
                </a:cubicBezTo>
                <a:cubicBezTo>
                  <a:pt x="8390077" y="1213458"/>
                  <a:pt x="8370324" y="1205397"/>
                  <a:pt x="8362040" y="1220820"/>
                </a:cubicBezTo>
                <a:cubicBezTo>
                  <a:pt x="8320616" y="1231942"/>
                  <a:pt x="8281663" y="1222882"/>
                  <a:pt x="8273677" y="1236495"/>
                </a:cubicBezTo>
                <a:cubicBezTo>
                  <a:pt x="8251358" y="1238573"/>
                  <a:pt x="8216738" y="1228341"/>
                  <a:pt x="8204283" y="1243537"/>
                </a:cubicBezTo>
                <a:cubicBezTo>
                  <a:pt x="8198634" y="1233135"/>
                  <a:pt x="8181550" y="1254947"/>
                  <a:pt x="8166550" y="1249551"/>
                </a:cubicBezTo>
                <a:cubicBezTo>
                  <a:pt x="8155570" y="1244572"/>
                  <a:pt x="8147825" y="1250027"/>
                  <a:pt x="8137785" y="1251636"/>
                </a:cubicBezTo>
                <a:cubicBezTo>
                  <a:pt x="8123427" y="1248361"/>
                  <a:pt x="8081662" y="1261833"/>
                  <a:pt x="8071596" y="1269274"/>
                </a:cubicBezTo>
                <a:cubicBezTo>
                  <a:pt x="8048949" y="1293759"/>
                  <a:pt x="7983924" y="1284712"/>
                  <a:pt x="7964816" y="1303668"/>
                </a:cubicBezTo>
                <a:cubicBezTo>
                  <a:pt x="7957137" y="1306992"/>
                  <a:pt x="7949335" y="1308861"/>
                  <a:pt x="7941495" y="1309821"/>
                </a:cubicBezTo>
                <a:lnTo>
                  <a:pt x="7919123" y="1310466"/>
                </a:lnTo>
                <a:lnTo>
                  <a:pt x="7911902" y="1306569"/>
                </a:lnTo>
                <a:lnTo>
                  <a:pt x="7898703" y="1309208"/>
                </a:lnTo>
                <a:lnTo>
                  <a:pt x="7894703" y="1308939"/>
                </a:lnTo>
                <a:lnTo>
                  <a:pt x="7872267" y="1308370"/>
                </a:lnTo>
                <a:cubicBezTo>
                  <a:pt x="7886550" y="1330359"/>
                  <a:pt x="7812648" y="1314851"/>
                  <a:pt x="7836454" y="1331265"/>
                </a:cubicBezTo>
                <a:cubicBezTo>
                  <a:pt x="7798907" y="1336933"/>
                  <a:pt x="7831419" y="1351068"/>
                  <a:pt x="7782451" y="1339601"/>
                </a:cubicBezTo>
                <a:cubicBezTo>
                  <a:pt x="7727636" y="1365002"/>
                  <a:pt x="7583002" y="1338768"/>
                  <a:pt x="7542969" y="1372495"/>
                </a:cubicBezTo>
                <a:cubicBezTo>
                  <a:pt x="7546396" y="1360942"/>
                  <a:pt x="7492851" y="1424323"/>
                  <a:pt x="7476832" y="1431655"/>
                </a:cubicBezTo>
                <a:cubicBezTo>
                  <a:pt x="7439619" y="1443703"/>
                  <a:pt x="7425596" y="1454661"/>
                  <a:pt x="7370237" y="1474339"/>
                </a:cubicBezTo>
                <a:cubicBezTo>
                  <a:pt x="7316246" y="1485928"/>
                  <a:pt x="7281903" y="1512712"/>
                  <a:pt x="7222223" y="1510199"/>
                </a:cubicBezTo>
                <a:cubicBezTo>
                  <a:pt x="7221190" y="1514030"/>
                  <a:pt x="7218885" y="1517398"/>
                  <a:pt x="7215703" y="1520424"/>
                </a:cubicBezTo>
                <a:lnTo>
                  <a:pt x="7204548" y="1528145"/>
                </a:lnTo>
                <a:lnTo>
                  <a:pt x="7202038" y="1527954"/>
                </a:lnTo>
                <a:lnTo>
                  <a:pt x="7173860" y="1541605"/>
                </a:lnTo>
                <a:lnTo>
                  <a:pt x="7155079" y="1552495"/>
                </a:lnTo>
                <a:lnTo>
                  <a:pt x="7149757" y="1552732"/>
                </a:lnTo>
                <a:cubicBezTo>
                  <a:pt x="7141378" y="1554948"/>
                  <a:pt x="7115959" y="1563256"/>
                  <a:pt x="7104804" y="1565792"/>
                </a:cubicBezTo>
                <a:cubicBezTo>
                  <a:pt x="7099811" y="1550850"/>
                  <a:pt x="7096935" y="1561973"/>
                  <a:pt x="7082824" y="1567947"/>
                </a:cubicBezTo>
                <a:cubicBezTo>
                  <a:pt x="7071919" y="1546070"/>
                  <a:pt x="7039417" y="1570606"/>
                  <a:pt x="7021520" y="1562334"/>
                </a:cubicBezTo>
                <a:cubicBezTo>
                  <a:pt x="7011400" y="1567217"/>
                  <a:pt x="7000495" y="1571981"/>
                  <a:pt x="6988956" y="1576442"/>
                </a:cubicBezTo>
                <a:lnTo>
                  <a:pt x="6981922" y="1578821"/>
                </a:lnTo>
                <a:lnTo>
                  <a:pt x="6981583" y="1578678"/>
                </a:lnTo>
                <a:cubicBezTo>
                  <a:pt x="6979627" y="1578791"/>
                  <a:pt x="6977153" y="1579421"/>
                  <a:pt x="6973762" y="1580811"/>
                </a:cubicBezTo>
                <a:lnTo>
                  <a:pt x="6969093" y="1583157"/>
                </a:lnTo>
                <a:lnTo>
                  <a:pt x="6890037" y="1575825"/>
                </a:lnTo>
                <a:cubicBezTo>
                  <a:pt x="6849459" y="1579997"/>
                  <a:pt x="6820022" y="1566922"/>
                  <a:pt x="6785054" y="1582200"/>
                </a:cubicBezTo>
                <a:cubicBezTo>
                  <a:pt x="6747047" y="1586037"/>
                  <a:pt x="6712794" y="1582954"/>
                  <a:pt x="6681692" y="1591296"/>
                </a:cubicBezTo>
                <a:cubicBezTo>
                  <a:pt x="6667557" y="1587501"/>
                  <a:pt x="6654822" y="1586753"/>
                  <a:pt x="6644556" y="1595940"/>
                </a:cubicBezTo>
                <a:cubicBezTo>
                  <a:pt x="6608615" y="1597269"/>
                  <a:pt x="6597697" y="1587005"/>
                  <a:pt x="6577106" y="1598261"/>
                </a:cubicBezTo>
                <a:lnTo>
                  <a:pt x="6544183" y="1596149"/>
                </a:lnTo>
                <a:lnTo>
                  <a:pt x="6540921" y="1593857"/>
                </a:lnTo>
                <a:lnTo>
                  <a:pt x="6535046" y="1593283"/>
                </a:lnTo>
                <a:lnTo>
                  <a:pt x="6519853" y="1595771"/>
                </a:lnTo>
                <a:lnTo>
                  <a:pt x="6514280" y="1597376"/>
                </a:lnTo>
                <a:cubicBezTo>
                  <a:pt x="6510385" y="1598232"/>
                  <a:pt x="6507735" y="1598481"/>
                  <a:pt x="6505824" y="1598298"/>
                </a:cubicBezTo>
                <a:lnTo>
                  <a:pt x="6505573" y="1598109"/>
                </a:lnTo>
                <a:lnTo>
                  <a:pt x="6497741" y="1599392"/>
                </a:lnTo>
                <a:cubicBezTo>
                  <a:pt x="6484628" y="1602044"/>
                  <a:pt x="6471968" y="1605085"/>
                  <a:pt x="6459992" y="1608358"/>
                </a:cubicBezTo>
                <a:cubicBezTo>
                  <a:pt x="6447037" y="1597612"/>
                  <a:pt x="6404274" y="1616787"/>
                  <a:pt x="6404572" y="1593771"/>
                </a:cubicBezTo>
                <a:cubicBezTo>
                  <a:pt x="6388277" y="1597519"/>
                  <a:pt x="6380141" y="1607970"/>
                  <a:pt x="6382671" y="1592612"/>
                </a:cubicBezTo>
                <a:lnTo>
                  <a:pt x="6369843" y="1590015"/>
                </a:lnTo>
                <a:lnTo>
                  <a:pt x="6269740" y="1614633"/>
                </a:lnTo>
                <a:lnTo>
                  <a:pt x="6255405" y="1620529"/>
                </a:lnTo>
                <a:cubicBezTo>
                  <a:pt x="6250911" y="1623016"/>
                  <a:pt x="6247090" y="1625968"/>
                  <a:pt x="6244248" y="1629561"/>
                </a:cubicBezTo>
                <a:cubicBezTo>
                  <a:pt x="6188859" y="1618246"/>
                  <a:pt x="6143250" y="1639346"/>
                  <a:pt x="6086396" y="1642666"/>
                </a:cubicBezTo>
                <a:cubicBezTo>
                  <a:pt x="6024311" y="1653696"/>
                  <a:pt x="5889522" y="1686499"/>
                  <a:pt x="5867429" y="1695554"/>
                </a:cubicBezTo>
                <a:cubicBezTo>
                  <a:pt x="5848669" y="1700350"/>
                  <a:pt x="5763994" y="1699795"/>
                  <a:pt x="5772864" y="1689002"/>
                </a:cubicBezTo>
                <a:cubicBezTo>
                  <a:pt x="5718480" y="1716048"/>
                  <a:pt x="5694188" y="1696562"/>
                  <a:pt x="5629833" y="1713273"/>
                </a:cubicBezTo>
                <a:lnTo>
                  <a:pt x="5504771" y="1725744"/>
                </a:lnTo>
                <a:lnTo>
                  <a:pt x="5490967" y="1726367"/>
                </a:lnTo>
                <a:lnTo>
                  <a:pt x="5486015" y="1721481"/>
                </a:lnTo>
                <a:lnTo>
                  <a:pt x="5439364" y="1721349"/>
                </a:lnTo>
                <a:cubicBezTo>
                  <a:pt x="5418850" y="1733129"/>
                  <a:pt x="5381503" y="1725668"/>
                  <a:pt x="5350025" y="1729885"/>
                </a:cubicBezTo>
                <a:lnTo>
                  <a:pt x="5336104" y="1734377"/>
                </a:lnTo>
                <a:lnTo>
                  <a:pt x="5245234" y="1738520"/>
                </a:lnTo>
                <a:lnTo>
                  <a:pt x="5182955" y="1744622"/>
                </a:lnTo>
                <a:lnTo>
                  <a:pt x="5169506" y="1748993"/>
                </a:lnTo>
                <a:lnTo>
                  <a:pt x="5154299" y="1744080"/>
                </a:lnTo>
                <a:cubicBezTo>
                  <a:pt x="5152463" y="1742751"/>
                  <a:pt x="5150989" y="1741283"/>
                  <a:pt x="5149917" y="1739727"/>
                </a:cubicBezTo>
                <a:lnTo>
                  <a:pt x="5100319" y="1745797"/>
                </a:lnTo>
                <a:lnTo>
                  <a:pt x="5094361" y="1745767"/>
                </a:lnTo>
                <a:lnTo>
                  <a:pt x="5053410" y="1742790"/>
                </a:lnTo>
                <a:lnTo>
                  <a:pt x="4992711" y="1734075"/>
                </a:lnTo>
                <a:cubicBezTo>
                  <a:pt x="4972764" y="1728527"/>
                  <a:pt x="4955480" y="1708667"/>
                  <a:pt x="4930098" y="1717312"/>
                </a:cubicBezTo>
                <a:cubicBezTo>
                  <a:pt x="4936142" y="1706767"/>
                  <a:pt x="4900350" y="1719438"/>
                  <a:pt x="4893834" y="1710028"/>
                </a:cubicBezTo>
                <a:cubicBezTo>
                  <a:pt x="4890113" y="1702277"/>
                  <a:pt x="4878389" y="1704314"/>
                  <a:pt x="4868730" y="1702384"/>
                </a:cubicBezTo>
                <a:cubicBezTo>
                  <a:pt x="4860577" y="1694955"/>
                  <a:pt x="4813519" y="1692594"/>
                  <a:pt x="4797925" y="1695535"/>
                </a:cubicBezTo>
                <a:cubicBezTo>
                  <a:pt x="4754973" y="1708626"/>
                  <a:pt x="4712186" y="1679830"/>
                  <a:pt x="4677670" y="1689453"/>
                </a:cubicBezTo>
                <a:cubicBezTo>
                  <a:pt x="4650390" y="1686902"/>
                  <a:pt x="4641786" y="1682702"/>
                  <a:pt x="4634248" y="1680227"/>
                </a:cubicBezTo>
                <a:lnTo>
                  <a:pt x="4632434" y="1674607"/>
                </a:lnTo>
                <a:lnTo>
                  <a:pt x="4619204" y="1672507"/>
                </a:lnTo>
                <a:lnTo>
                  <a:pt x="4616283" y="1670977"/>
                </a:lnTo>
                <a:cubicBezTo>
                  <a:pt x="4610716" y="1668036"/>
                  <a:pt x="4605090" y="1665277"/>
                  <a:pt x="4598926" y="1663178"/>
                </a:cubicBezTo>
                <a:cubicBezTo>
                  <a:pt x="4588025" y="1686237"/>
                  <a:pt x="4544698" y="1649138"/>
                  <a:pt x="4547069" y="1670642"/>
                </a:cubicBezTo>
                <a:lnTo>
                  <a:pt x="4523516" y="1669785"/>
                </a:lnTo>
                <a:lnTo>
                  <a:pt x="4500586" y="1675912"/>
                </a:lnTo>
                <a:lnTo>
                  <a:pt x="4488196" y="1683463"/>
                </a:lnTo>
                <a:lnTo>
                  <a:pt x="4445463" y="1695634"/>
                </a:lnTo>
                <a:lnTo>
                  <a:pt x="4446550" y="1680538"/>
                </a:lnTo>
                <a:lnTo>
                  <a:pt x="4365375" y="1697935"/>
                </a:lnTo>
                <a:lnTo>
                  <a:pt x="4305123" y="1714185"/>
                </a:lnTo>
                <a:lnTo>
                  <a:pt x="4292665" y="1720703"/>
                </a:lnTo>
                <a:lnTo>
                  <a:pt x="4276789" y="1718367"/>
                </a:lnTo>
                <a:cubicBezTo>
                  <a:pt x="4274740" y="1717359"/>
                  <a:pt x="4273021" y="1716157"/>
                  <a:pt x="4271683" y="1714801"/>
                </a:cubicBezTo>
                <a:lnTo>
                  <a:pt x="4223918" y="1728936"/>
                </a:lnTo>
                <a:lnTo>
                  <a:pt x="4218039" y="1729885"/>
                </a:lnTo>
                <a:lnTo>
                  <a:pt x="4177153" y="1733691"/>
                </a:lnTo>
                <a:lnTo>
                  <a:pt x="4051032" y="1728886"/>
                </a:lnTo>
                <a:cubicBezTo>
                  <a:pt x="4055072" y="1717510"/>
                  <a:pt x="4022108" y="1735873"/>
                  <a:pt x="4013978" y="1727679"/>
                </a:cubicBezTo>
                <a:cubicBezTo>
                  <a:pt x="4008905" y="1720660"/>
                  <a:pt x="3997723" y="1724594"/>
                  <a:pt x="3987857" y="1724282"/>
                </a:cubicBezTo>
                <a:cubicBezTo>
                  <a:pt x="3978476" y="1718309"/>
                  <a:pt x="3931683" y="1723723"/>
                  <a:pt x="3916852" y="1729184"/>
                </a:cubicBezTo>
                <a:cubicBezTo>
                  <a:pt x="3876910" y="1749138"/>
                  <a:pt x="3829523" y="1727824"/>
                  <a:pt x="3797263" y="1742976"/>
                </a:cubicBezTo>
                <a:cubicBezTo>
                  <a:pt x="3769922" y="1744951"/>
                  <a:pt x="3760682" y="1742230"/>
                  <a:pt x="3752806" y="1741033"/>
                </a:cubicBezTo>
                <a:lnTo>
                  <a:pt x="3749997" y="1735799"/>
                </a:lnTo>
                <a:lnTo>
                  <a:pt x="3736582" y="1735907"/>
                </a:lnTo>
                <a:lnTo>
                  <a:pt x="3733428" y="1734881"/>
                </a:lnTo>
                <a:cubicBezTo>
                  <a:pt x="3727408" y="1732899"/>
                  <a:pt x="3721365" y="1731108"/>
                  <a:pt x="3714911" y="1730056"/>
                </a:cubicBezTo>
                <a:cubicBezTo>
                  <a:pt x="3708355" y="1754554"/>
                  <a:pt x="3658933" y="1725152"/>
                  <a:pt x="3665172" y="1745936"/>
                </a:cubicBezTo>
                <a:cubicBezTo>
                  <a:pt x="3628569" y="1744420"/>
                  <a:pt x="3583742" y="1775884"/>
                  <a:pt x="3552006" y="1755220"/>
                </a:cubicBezTo>
                <a:cubicBezTo>
                  <a:pt x="3497522" y="1758390"/>
                  <a:pt x="3448310" y="1757433"/>
                  <a:pt x="3390301" y="1762546"/>
                </a:cubicBezTo>
                <a:cubicBezTo>
                  <a:pt x="3345266" y="1774524"/>
                  <a:pt x="3297039" y="1758531"/>
                  <a:pt x="3264312" y="1774620"/>
                </a:cubicBezTo>
                <a:cubicBezTo>
                  <a:pt x="3212634" y="1771139"/>
                  <a:pt x="3147905" y="1780248"/>
                  <a:pt x="3106901" y="1804264"/>
                </a:cubicBezTo>
                <a:cubicBezTo>
                  <a:pt x="3051355" y="1805490"/>
                  <a:pt x="3041708" y="1820368"/>
                  <a:pt x="2993303" y="1806542"/>
                </a:cubicBezTo>
                <a:cubicBezTo>
                  <a:pt x="2989182" y="1810139"/>
                  <a:pt x="2984377" y="1813039"/>
                  <a:pt x="2979115" y="1815432"/>
                </a:cubicBezTo>
                <a:lnTo>
                  <a:pt x="2963118" y="1820962"/>
                </a:lnTo>
                <a:lnTo>
                  <a:pt x="2961156" y="1820297"/>
                </a:lnTo>
                <a:lnTo>
                  <a:pt x="2925719" y="1828468"/>
                </a:lnTo>
                <a:lnTo>
                  <a:pt x="2857951" y="1842496"/>
                </a:lnTo>
                <a:lnTo>
                  <a:pt x="2857427" y="1841591"/>
                </a:lnTo>
                <a:cubicBezTo>
                  <a:pt x="2855386" y="1839734"/>
                  <a:pt x="2852250" y="1838690"/>
                  <a:pt x="2846731" y="1839316"/>
                </a:cubicBezTo>
                <a:cubicBezTo>
                  <a:pt x="2855175" y="1823564"/>
                  <a:pt x="2843311" y="1834035"/>
                  <a:pt x="2826290" y="1837274"/>
                </a:cubicBezTo>
                <a:cubicBezTo>
                  <a:pt x="2835609" y="1813530"/>
                  <a:pt x="2787284" y="1831665"/>
                  <a:pt x="2779146" y="1820071"/>
                </a:cubicBezTo>
                <a:cubicBezTo>
                  <a:pt x="2766432" y="1822985"/>
                  <a:pt x="2753158" y="1825635"/>
                  <a:pt x="2739608" y="1827861"/>
                </a:cubicBezTo>
                <a:lnTo>
                  <a:pt x="2731631" y="1828881"/>
                </a:lnTo>
                <a:cubicBezTo>
                  <a:pt x="2731575" y="1828813"/>
                  <a:pt x="2731521" y="1828744"/>
                  <a:pt x="2731464" y="1828677"/>
                </a:cubicBezTo>
                <a:cubicBezTo>
                  <a:pt x="2729715" y="1828415"/>
                  <a:pt x="2727085" y="1828569"/>
                  <a:pt x="2723037" y="1829303"/>
                </a:cubicBezTo>
                <a:lnTo>
                  <a:pt x="2701616" y="1832725"/>
                </a:lnTo>
                <a:lnTo>
                  <a:pt x="2696239" y="1831904"/>
                </a:lnTo>
                <a:lnTo>
                  <a:pt x="2663445" y="1825958"/>
                </a:lnTo>
                <a:cubicBezTo>
                  <a:pt x="2641260" y="1825904"/>
                  <a:pt x="2595040" y="1827674"/>
                  <a:pt x="2560925" y="1829094"/>
                </a:cubicBezTo>
                <a:cubicBezTo>
                  <a:pt x="2527977" y="1836499"/>
                  <a:pt x="2496507" y="1831991"/>
                  <a:pt x="2458739" y="1834479"/>
                </a:cubicBezTo>
                <a:cubicBezTo>
                  <a:pt x="2419379" y="1848893"/>
                  <a:pt x="2396428" y="1834257"/>
                  <a:pt x="2356074" y="1836991"/>
                </a:cubicBezTo>
                <a:cubicBezTo>
                  <a:pt x="2323435" y="1857644"/>
                  <a:pt x="2325610" y="1826053"/>
                  <a:pt x="2304241" y="1822021"/>
                </a:cubicBezTo>
                <a:lnTo>
                  <a:pt x="2298362" y="1822125"/>
                </a:lnTo>
                <a:lnTo>
                  <a:pt x="2283527" y="1826361"/>
                </a:lnTo>
                <a:lnTo>
                  <a:pt x="2278150" y="1828604"/>
                </a:lnTo>
                <a:cubicBezTo>
                  <a:pt x="2274371" y="1829907"/>
                  <a:pt x="2271762" y="1830461"/>
                  <a:pt x="2269853" y="1830502"/>
                </a:cubicBezTo>
                <a:lnTo>
                  <a:pt x="2269585" y="1830341"/>
                </a:lnTo>
                <a:lnTo>
                  <a:pt x="2225332" y="1845825"/>
                </a:lnTo>
                <a:cubicBezTo>
                  <a:pt x="2211505" y="1836594"/>
                  <a:pt x="2170867" y="1860661"/>
                  <a:pt x="2169048" y="1837658"/>
                </a:cubicBezTo>
                <a:cubicBezTo>
                  <a:pt x="2153238" y="1843278"/>
                  <a:pt x="2146132" y="1854645"/>
                  <a:pt x="2147231" y="1839027"/>
                </a:cubicBezTo>
                <a:cubicBezTo>
                  <a:pt x="2141901" y="1840465"/>
                  <a:pt x="2138205" y="1840014"/>
                  <a:pt x="2135241" y="1838652"/>
                </a:cubicBezTo>
                <a:lnTo>
                  <a:pt x="2099215" y="1850768"/>
                </a:lnTo>
                <a:lnTo>
                  <a:pt x="2094046" y="1850806"/>
                </a:lnTo>
                <a:lnTo>
                  <a:pt x="2071850" y="1861319"/>
                </a:lnTo>
                <a:lnTo>
                  <a:pt x="2039607" y="1874318"/>
                </a:lnTo>
                <a:lnTo>
                  <a:pt x="2037289" y="1874025"/>
                </a:lnTo>
                <a:lnTo>
                  <a:pt x="2023615" y="1881562"/>
                </a:lnTo>
                <a:cubicBezTo>
                  <a:pt x="2019390" y="1884562"/>
                  <a:pt x="1959668" y="1894795"/>
                  <a:pt x="1957176" y="1898709"/>
                </a:cubicBezTo>
                <a:cubicBezTo>
                  <a:pt x="1901224" y="1893805"/>
                  <a:pt x="1914145" y="1913274"/>
                  <a:pt x="1858081" y="1923144"/>
                </a:cubicBezTo>
                <a:cubicBezTo>
                  <a:pt x="1819487" y="1923227"/>
                  <a:pt x="1798952" y="1929741"/>
                  <a:pt x="1738865" y="1944965"/>
                </a:cubicBezTo>
                <a:cubicBezTo>
                  <a:pt x="1698633" y="1955957"/>
                  <a:pt x="1670491" y="1978862"/>
                  <a:pt x="1616692" y="1989107"/>
                </a:cubicBezTo>
                <a:cubicBezTo>
                  <a:pt x="1565257" y="2022368"/>
                  <a:pt x="1474172" y="2022156"/>
                  <a:pt x="1411898" y="2046254"/>
                </a:cubicBezTo>
                <a:cubicBezTo>
                  <a:pt x="1380237" y="2035952"/>
                  <a:pt x="1386648" y="2042292"/>
                  <a:pt x="1375780" y="2047961"/>
                </a:cubicBezTo>
                <a:cubicBezTo>
                  <a:pt x="1375756" y="2047968"/>
                  <a:pt x="1375731" y="2047974"/>
                  <a:pt x="1375707" y="2047981"/>
                </a:cubicBezTo>
                <a:lnTo>
                  <a:pt x="1285585" y="2047113"/>
                </a:lnTo>
                <a:cubicBezTo>
                  <a:pt x="1279541" y="2043453"/>
                  <a:pt x="1272537" y="2040974"/>
                  <a:pt x="1263658" y="2041397"/>
                </a:cubicBezTo>
                <a:cubicBezTo>
                  <a:pt x="1212454" y="2058890"/>
                  <a:pt x="1258499" y="2026611"/>
                  <a:pt x="1170403" y="2033399"/>
                </a:cubicBezTo>
                <a:cubicBezTo>
                  <a:pt x="1166530" y="2036274"/>
                  <a:pt x="1154254" y="2033463"/>
                  <a:pt x="1153718" y="2029576"/>
                </a:cubicBezTo>
                <a:cubicBezTo>
                  <a:pt x="1148486" y="2030819"/>
                  <a:pt x="1137980" y="2038354"/>
                  <a:pt x="1133937" y="2032149"/>
                </a:cubicBezTo>
                <a:cubicBezTo>
                  <a:pt x="1104720" y="2031606"/>
                  <a:pt x="1077532" y="2035424"/>
                  <a:pt x="1054999" y="2043242"/>
                </a:cubicBezTo>
                <a:cubicBezTo>
                  <a:pt x="1024875" y="2038090"/>
                  <a:pt x="1020473" y="2042711"/>
                  <a:pt x="1018405" y="2048281"/>
                </a:cubicBezTo>
                <a:lnTo>
                  <a:pt x="1016563" y="2051718"/>
                </a:lnTo>
                <a:lnTo>
                  <a:pt x="1008284" y="2046742"/>
                </a:lnTo>
                <a:cubicBezTo>
                  <a:pt x="999244" y="2043620"/>
                  <a:pt x="990505" y="2044937"/>
                  <a:pt x="981974" y="2048363"/>
                </a:cubicBezTo>
                <a:lnTo>
                  <a:pt x="971903" y="2053484"/>
                </a:lnTo>
                <a:lnTo>
                  <a:pt x="954015" y="2052529"/>
                </a:lnTo>
                <a:cubicBezTo>
                  <a:pt x="931960" y="2051365"/>
                  <a:pt x="861352" y="2046214"/>
                  <a:pt x="839571" y="2046509"/>
                </a:cubicBezTo>
                <a:lnTo>
                  <a:pt x="823321" y="2054296"/>
                </a:lnTo>
                <a:lnTo>
                  <a:pt x="800990" y="2051523"/>
                </a:lnTo>
                <a:cubicBezTo>
                  <a:pt x="790723" y="2052171"/>
                  <a:pt x="782268" y="2055403"/>
                  <a:pt x="776439" y="2062634"/>
                </a:cubicBezTo>
                <a:cubicBezTo>
                  <a:pt x="773155" y="2056184"/>
                  <a:pt x="769593" y="2059253"/>
                  <a:pt x="763041" y="2063995"/>
                </a:cubicBezTo>
                <a:lnTo>
                  <a:pt x="757863" y="2065877"/>
                </a:lnTo>
                <a:lnTo>
                  <a:pt x="745053" y="2051831"/>
                </a:lnTo>
                <a:lnTo>
                  <a:pt x="722609" y="2049504"/>
                </a:lnTo>
                <a:lnTo>
                  <a:pt x="717618" y="2042131"/>
                </a:lnTo>
                <a:lnTo>
                  <a:pt x="703285" y="2046808"/>
                </a:lnTo>
                <a:cubicBezTo>
                  <a:pt x="698219" y="2048137"/>
                  <a:pt x="690058" y="2049926"/>
                  <a:pt x="680199" y="2051947"/>
                </a:cubicBezTo>
                <a:lnTo>
                  <a:pt x="667351" y="2054469"/>
                </a:lnTo>
                <a:lnTo>
                  <a:pt x="660961" y="2049404"/>
                </a:lnTo>
                <a:lnTo>
                  <a:pt x="638282" y="2060093"/>
                </a:lnTo>
                <a:lnTo>
                  <a:pt x="583551" y="2070197"/>
                </a:lnTo>
                <a:cubicBezTo>
                  <a:pt x="569268" y="2091365"/>
                  <a:pt x="529124" y="2053106"/>
                  <a:pt x="525274" y="2079137"/>
                </a:cubicBezTo>
                <a:cubicBezTo>
                  <a:pt x="506495" y="2056498"/>
                  <a:pt x="440091" y="2069666"/>
                  <a:pt x="405635" y="2059339"/>
                </a:cubicBezTo>
                <a:cubicBezTo>
                  <a:pt x="397410" y="2069278"/>
                  <a:pt x="294416" y="2032966"/>
                  <a:pt x="281555" y="2022847"/>
                </a:cubicBezTo>
                <a:cubicBezTo>
                  <a:pt x="171589" y="1986245"/>
                  <a:pt x="126791" y="1985528"/>
                  <a:pt x="98513" y="1969504"/>
                </a:cubicBezTo>
                <a:cubicBezTo>
                  <a:pt x="85544" y="1965247"/>
                  <a:pt x="73324" y="1958000"/>
                  <a:pt x="56191" y="1950709"/>
                </a:cubicBezTo>
                <a:lnTo>
                  <a:pt x="0" y="1935789"/>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title"/>
          </p:nvPr>
        </p:nvSpPr>
        <p:spPr>
          <a:xfrm>
            <a:off x="852777" y="548640"/>
            <a:ext cx="7157553" cy="1188720"/>
          </a:xfrm>
        </p:spPr>
        <p:txBody>
          <a:bodyPr>
            <a:normAutofit/>
          </a:bodyPr>
          <a:lstStyle/>
          <a:p>
            <a:r>
              <a:rPr lang="en-US" dirty="0">
                <a:solidFill>
                  <a:schemeClr val="tx1">
                    <a:lumMod val="85000"/>
                    <a:lumOff val="15000"/>
                  </a:schemeClr>
                </a:solidFill>
              </a:rPr>
              <a:t>Risk &amp; Strategic Diligence</a:t>
            </a:r>
          </a:p>
        </p:txBody>
      </p:sp>
      <p:sp>
        <p:nvSpPr>
          <p:cNvPr id="3" name="Content Placeholder 2"/>
          <p:cNvSpPr>
            <a:spLocks noGrp="1"/>
          </p:cNvSpPr>
          <p:nvPr>
            <p:ph idx="1"/>
          </p:nvPr>
        </p:nvSpPr>
        <p:spPr>
          <a:xfrm>
            <a:off x="1468490" y="2431765"/>
            <a:ext cx="6207019" cy="3320031"/>
          </a:xfrm>
        </p:spPr>
        <p:txBody>
          <a:bodyPr anchor="ctr">
            <a:normAutofit/>
          </a:bodyPr>
          <a:lstStyle/>
          <a:p>
            <a:pPr>
              <a:lnSpc>
                <a:spcPct val="90000"/>
              </a:lnSpc>
            </a:pPr>
            <a:endParaRPr lang="en-US" sz="1700">
              <a:solidFill>
                <a:schemeClr val="tx1">
                  <a:lumMod val="85000"/>
                  <a:lumOff val="15000"/>
                </a:schemeClr>
              </a:solidFill>
            </a:endParaRPr>
          </a:p>
          <a:p>
            <a:pPr>
              <a:lnSpc>
                <a:spcPct val="90000"/>
              </a:lnSpc>
            </a:pPr>
            <a:r>
              <a:rPr lang="en-US" sz="1700">
                <a:solidFill>
                  <a:schemeClr val="tx1">
                    <a:lumMod val="85000"/>
                    <a:lumOff val="15000"/>
                  </a:schemeClr>
                </a:solidFill>
              </a:rPr>
              <a:t>Risk concentration clusters by category and country; current 'strategic risk' tag is a weak discriminator of profit.</a:t>
            </a:r>
          </a:p>
          <a:p>
            <a:pPr>
              <a:lnSpc>
                <a:spcPct val="90000"/>
              </a:lnSpc>
            </a:pPr>
            <a:r>
              <a:rPr lang="en-US" sz="1700">
                <a:solidFill>
                  <a:schemeClr val="tx1">
                    <a:lumMod val="85000"/>
                    <a:lumOff val="15000"/>
                  </a:schemeClr>
                </a:solidFill>
              </a:rPr>
              <a:t>Most surprising</a:t>
            </a:r>
          </a:p>
          <a:p>
            <a:pPr lvl="1">
              <a:lnSpc>
                <a:spcPct val="90000"/>
              </a:lnSpc>
            </a:pPr>
            <a:r>
              <a:rPr lang="en-US" sz="1700">
                <a:solidFill>
                  <a:schemeClr val="tx1">
                    <a:lumMod val="85000"/>
                    <a:lumOff val="15000"/>
                  </a:schemeClr>
                </a:solidFill>
              </a:rPr>
              <a:t>Shipment types show similar mean fulfillment times despite intuition—risks reside in tail events</a:t>
            </a:r>
          </a:p>
          <a:p>
            <a:pPr>
              <a:lnSpc>
                <a:spcPct val="90000"/>
              </a:lnSpc>
            </a:pPr>
            <a:r>
              <a:rPr lang="en-US" sz="1700">
                <a:solidFill>
                  <a:schemeClr val="tx1">
                    <a:lumMod val="85000"/>
                    <a:lumOff val="15000"/>
                  </a:schemeClr>
                </a:solidFill>
              </a:rPr>
              <a:t>Connections</a:t>
            </a:r>
          </a:p>
          <a:p>
            <a:pPr lvl="1">
              <a:lnSpc>
                <a:spcPct val="90000"/>
              </a:lnSpc>
            </a:pPr>
            <a:r>
              <a:rPr lang="en-US" sz="1700">
                <a:solidFill>
                  <a:schemeClr val="tx1">
                    <a:lumMod val="85000"/>
                    <a:lumOff val="15000"/>
                  </a:schemeClr>
                </a:solidFill>
              </a:rPr>
              <a:t>Define guardrails for pricing tests, inventory bets, and geo expansion; align with Ops SLAs and Finance guardrails</a:t>
            </a:r>
          </a:p>
          <a:p>
            <a:pPr>
              <a:lnSpc>
                <a:spcPct val="90000"/>
              </a:lnSpc>
            </a:pPr>
            <a:r>
              <a:rPr lang="en-US" sz="1700">
                <a:solidFill>
                  <a:schemeClr val="tx1">
                    <a:lumMod val="85000"/>
                    <a:lumOff val="15000"/>
                  </a:schemeClr>
                </a:solidFill>
              </a:rPr>
              <a:t>Action</a:t>
            </a:r>
          </a:p>
          <a:p>
            <a:pPr lvl="1">
              <a:lnSpc>
                <a:spcPct val="90000"/>
              </a:lnSpc>
            </a:pPr>
            <a:r>
              <a:rPr lang="en-US" sz="1700">
                <a:solidFill>
                  <a:schemeClr val="tx1">
                    <a:lumMod val="85000"/>
                    <a:lumOff val="15000"/>
                  </a:schemeClr>
                </a:solidFill>
              </a:rPr>
              <a:t>Use a driver tree (AOV × Orders × Gross Margin − Variable Costs) and enforce time‑based validation to avoid leakage</a:t>
            </a:r>
          </a:p>
        </p:txBody>
      </p:sp>
      <p:sp>
        <p:nvSpPr>
          <p:cNvPr id="29" name="Freeform: Shape 28">
            <a:extLst>
              <a:ext uri="{FF2B5EF4-FFF2-40B4-BE49-F238E27FC236}">
                <a16:creationId xmlns:a16="http://schemas.microsoft.com/office/drawing/2014/main" id="{142DCE2C-2863-46FA-9BE7-24365A24D9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68439" y="5970896"/>
            <a:ext cx="7475562" cy="887104"/>
          </a:xfrm>
          <a:custGeom>
            <a:avLst/>
            <a:gdLst>
              <a:gd name="connsiteX0" fmla="*/ 4686423 w 9517857"/>
              <a:gd name="connsiteY0" fmla="*/ 247919 h 918356"/>
              <a:gd name="connsiteX1" fmla="*/ 4689051 w 9517857"/>
              <a:gd name="connsiteY1" fmla="*/ 250968 h 918356"/>
              <a:gd name="connsiteX2" fmla="*/ 4687244 w 9517857"/>
              <a:gd name="connsiteY2" fmla="*/ 251298 h 918356"/>
              <a:gd name="connsiteX3" fmla="*/ 4685225 w 9517857"/>
              <a:gd name="connsiteY3" fmla="*/ 246530 h 918356"/>
              <a:gd name="connsiteX4" fmla="*/ 4686133 w 9517857"/>
              <a:gd name="connsiteY4" fmla="*/ 246727 h 918356"/>
              <a:gd name="connsiteX5" fmla="*/ 4686423 w 9517857"/>
              <a:gd name="connsiteY5" fmla="*/ 247919 h 918356"/>
              <a:gd name="connsiteX6" fmla="*/ 9517856 w 9517857"/>
              <a:gd name="connsiteY6" fmla="*/ 0 h 918356"/>
              <a:gd name="connsiteX7" fmla="*/ 9517857 w 9517857"/>
              <a:gd name="connsiteY7" fmla="*/ 12 h 918356"/>
              <a:gd name="connsiteX8" fmla="*/ 9517857 w 9517857"/>
              <a:gd name="connsiteY8" fmla="*/ 918356 h 918356"/>
              <a:gd name="connsiteX9" fmla="*/ 14604 w 9517857"/>
              <a:gd name="connsiteY9" fmla="*/ 918356 h 918356"/>
              <a:gd name="connsiteX10" fmla="*/ 12841 w 9517857"/>
              <a:gd name="connsiteY10" fmla="*/ 917763 h 918356"/>
              <a:gd name="connsiteX11" fmla="*/ 93 w 9517857"/>
              <a:gd name="connsiteY11" fmla="*/ 912471 h 918356"/>
              <a:gd name="connsiteX12" fmla="*/ 58674 w 9517857"/>
              <a:gd name="connsiteY12" fmla="*/ 890322 h 918356"/>
              <a:gd name="connsiteX13" fmla="*/ 275005 w 9517857"/>
              <a:gd name="connsiteY13" fmla="*/ 807229 h 918356"/>
              <a:gd name="connsiteX14" fmla="*/ 587824 w 9517857"/>
              <a:gd name="connsiteY14" fmla="*/ 798195 h 918356"/>
              <a:gd name="connsiteX15" fmla="*/ 651826 w 9517857"/>
              <a:gd name="connsiteY15" fmla="*/ 738338 h 918356"/>
              <a:gd name="connsiteX16" fmla="*/ 727985 w 9517857"/>
              <a:gd name="connsiteY16" fmla="*/ 719826 h 918356"/>
              <a:gd name="connsiteX17" fmla="*/ 778982 w 9517857"/>
              <a:gd name="connsiteY17" fmla="*/ 710142 h 918356"/>
              <a:gd name="connsiteX18" fmla="*/ 849944 w 9517857"/>
              <a:gd name="connsiteY18" fmla="*/ 717987 h 918356"/>
              <a:gd name="connsiteX19" fmla="*/ 921659 w 9517857"/>
              <a:gd name="connsiteY19" fmla="*/ 712695 h 918356"/>
              <a:gd name="connsiteX20" fmla="*/ 930946 w 9517857"/>
              <a:gd name="connsiteY20" fmla="*/ 734046 h 918356"/>
              <a:gd name="connsiteX21" fmla="*/ 986250 w 9517857"/>
              <a:gd name="connsiteY21" fmla="*/ 713530 h 918356"/>
              <a:gd name="connsiteX22" fmla="*/ 1013752 w 9517857"/>
              <a:gd name="connsiteY22" fmla="*/ 713361 h 918356"/>
              <a:gd name="connsiteX23" fmla="*/ 1023734 w 9517857"/>
              <a:gd name="connsiteY23" fmla="*/ 718571 h 918356"/>
              <a:gd name="connsiteX24" fmla="*/ 1063207 w 9517857"/>
              <a:gd name="connsiteY24" fmla="*/ 715651 h 918356"/>
              <a:gd name="connsiteX25" fmla="*/ 1081980 w 9517857"/>
              <a:gd name="connsiteY25" fmla="*/ 738455 h 918356"/>
              <a:gd name="connsiteX26" fmla="*/ 1218120 w 9517857"/>
              <a:gd name="connsiteY26" fmla="*/ 713280 h 918356"/>
              <a:gd name="connsiteX27" fmla="*/ 1397459 w 9517857"/>
              <a:gd name="connsiteY27" fmla="*/ 691190 h 918356"/>
              <a:gd name="connsiteX28" fmla="*/ 1580688 w 9517857"/>
              <a:gd name="connsiteY28" fmla="*/ 693697 h 918356"/>
              <a:gd name="connsiteX29" fmla="*/ 1772334 w 9517857"/>
              <a:gd name="connsiteY29" fmla="*/ 710640 h 918356"/>
              <a:gd name="connsiteX30" fmla="*/ 2002561 w 9517857"/>
              <a:gd name="connsiteY30" fmla="*/ 659917 h 918356"/>
              <a:gd name="connsiteX31" fmla="*/ 2135144 w 9517857"/>
              <a:gd name="connsiteY31" fmla="*/ 636501 h 918356"/>
              <a:gd name="connsiteX32" fmla="*/ 2440292 w 9517857"/>
              <a:gd name="connsiteY32" fmla="*/ 593862 h 918356"/>
              <a:gd name="connsiteX33" fmla="*/ 2547829 w 9517857"/>
              <a:gd name="connsiteY33" fmla="*/ 566150 h 918356"/>
              <a:gd name="connsiteX34" fmla="*/ 2658055 w 9517857"/>
              <a:gd name="connsiteY34" fmla="*/ 578727 h 918356"/>
              <a:gd name="connsiteX35" fmla="*/ 2693698 w 9517857"/>
              <a:gd name="connsiteY35" fmla="*/ 560029 h 918356"/>
              <a:gd name="connsiteX36" fmla="*/ 2699673 w 9517857"/>
              <a:gd name="connsiteY36" fmla="*/ 556400 h 918356"/>
              <a:gd name="connsiteX37" fmla="*/ 2727306 w 9517857"/>
              <a:gd name="connsiteY37" fmla="*/ 550698 h 918356"/>
              <a:gd name="connsiteX38" fmla="*/ 2730451 w 9517857"/>
              <a:gd name="connsiteY38" fmla="*/ 538058 h 918356"/>
              <a:gd name="connsiteX39" fmla="*/ 2768713 w 9517857"/>
              <a:gd name="connsiteY39" fmla="*/ 521575 h 918356"/>
              <a:gd name="connsiteX40" fmla="*/ 2820868 w 9517857"/>
              <a:gd name="connsiteY40" fmla="*/ 514160 h 918356"/>
              <a:gd name="connsiteX41" fmla="*/ 3073635 w 9517857"/>
              <a:gd name="connsiteY41" fmla="*/ 491294 h 918356"/>
              <a:gd name="connsiteX42" fmla="*/ 3222071 w 9517857"/>
              <a:gd name="connsiteY42" fmla="*/ 470559 h 918356"/>
              <a:gd name="connsiteX43" fmla="*/ 3274069 w 9517857"/>
              <a:gd name="connsiteY43" fmla="*/ 451605 h 918356"/>
              <a:gd name="connsiteX44" fmla="*/ 3349632 w 9517857"/>
              <a:gd name="connsiteY44" fmla="*/ 432583 h 918356"/>
              <a:gd name="connsiteX45" fmla="*/ 3479593 w 9517857"/>
              <a:gd name="connsiteY45" fmla="*/ 390437 h 918356"/>
              <a:gd name="connsiteX46" fmla="*/ 3660110 w 9517857"/>
              <a:gd name="connsiteY46" fmla="*/ 348726 h 918356"/>
              <a:gd name="connsiteX47" fmla="*/ 3750023 w 9517857"/>
              <a:gd name="connsiteY47" fmla="*/ 370678 h 918356"/>
              <a:gd name="connsiteX48" fmla="*/ 3844133 w 9517857"/>
              <a:gd name="connsiteY48" fmla="*/ 360648 h 918356"/>
              <a:gd name="connsiteX49" fmla="*/ 3913545 w 9517857"/>
              <a:gd name="connsiteY49" fmla="*/ 344235 h 918356"/>
              <a:gd name="connsiteX50" fmla="*/ 4266740 w 9517857"/>
              <a:gd name="connsiteY50" fmla="*/ 361454 h 918356"/>
              <a:gd name="connsiteX51" fmla="*/ 4430770 w 9517857"/>
              <a:gd name="connsiteY51" fmla="*/ 342643 h 918356"/>
              <a:gd name="connsiteX52" fmla="*/ 4512664 w 9517857"/>
              <a:gd name="connsiteY52" fmla="*/ 319948 h 918356"/>
              <a:gd name="connsiteX53" fmla="*/ 4616423 w 9517857"/>
              <a:gd name="connsiteY53" fmla="*/ 290914 h 918356"/>
              <a:gd name="connsiteX54" fmla="*/ 4691675 w 9517857"/>
              <a:gd name="connsiteY54" fmla="*/ 254011 h 918356"/>
              <a:gd name="connsiteX55" fmla="*/ 4689051 w 9517857"/>
              <a:gd name="connsiteY55" fmla="*/ 250968 h 918356"/>
              <a:gd name="connsiteX56" fmla="*/ 4719994 w 9517857"/>
              <a:gd name="connsiteY56" fmla="*/ 245307 h 918356"/>
              <a:gd name="connsiteX57" fmla="*/ 4752894 w 9517857"/>
              <a:gd name="connsiteY57" fmla="*/ 239875 h 918356"/>
              <a:gd name="connsiteX58" fmla="*/ 4769329 w 9517857"/>
              <a:gd name="connsiteY58" fmla="*/ 233585 h 918356"/>
              <a:gd name="connsiteX59" fmla="*/ 4775634 w 9517857"/>
              <a:gd name="connsiteY59" fmla="*/ 234063 h 918356"/>
              <a:gd name="connsiteX60" fmla="*/ 4790452 w 9517857"/>
              <a:gd name="connsiteY60" fmla="*/ 233572 h 918356"/>
              <a:gd name="connsiteX61" fmla="*/ 4789062 w 9517857"/>
              <a:gd name="connsiteY61" fmla="*/ 241924 h 918356"/>
              <a:gd name="connsiteX62" fmla="*/ 4827826 w 9517857"/>
              <a:gd name="connsiteY62" fmla="*/ 246977 h 918356"/>
              <a:gd name="connsiteX63" fmla="*/ 4892569 w 9517857"/>
              <a:gd name="connsiteY63" fmla="*/ 249933 h 918356"/>
              <a:gd name="connsiteX64" fmla="*/ 4896611 w 9517857"/>
              <a:gd name="connsiteY64" fmla="*/ 240448 h 918356"/>
              <a:gd name="connsiteX65" fmla="*/ 4917286 w 9517857"/>
              <a:gd name="connsiteY65" fmla="*/ 243659 h 918356"/>
              <a:gd name="connsiteX66" fmla="*/ 4981173 w 9517857"/>
              <a:gd name="connsiteY66" fmla="*/ 247103 h 918356"/>
              <a:gd name="connsiteX67" fmla="*/ 5060397 w 9517857"/>
              <a:gd name="connsiteY67" fmla="*/ 263688 h 918356"/>
              <a:gd name="connsiteX68" fmla="*/ 5252996 w 9517857"/>
              <a:gd name="connsiteY68" fmla="*/ 270655 h 918356"/>
              <a:gd name="connsiteX69" fmla="*/ 5358056 w 9517857"/>
              <a:gd name="connsiteY69" fmla="*/ 247248 h 918356"/>
              <a:gd name="connsiteX70" fmla="*/ 5426496 w 9517857"/>
              <a:gd name="connsiteY70" fmla="*/ 235142 h 918356"/>
              <a:gd name="connsiteX71" fmla="*/ 5497161 w 9517857"/>
              <a:gd name="connsiteY71" fmla="*/ 228808 h 918356"/>
              <a:gd name="connsiteX72" fmla="*/ 5826043 w 9517857"/>
              <a:gd name="connsiteY72" fmla="*/ 148073 h 918356"/>
              <a:gd name="connsiteX73" fmla="*/ 6013415 w 9517857"/>
              <a:gd name="connsiteY73" fmla="*/ 137316 h 918356"/>
              <a:gd name="connsiteX74" fmla="*/ 6080994 w 9517857"/>
              <a:gd name="connsiteY74" fmla="*/ 142938 h 918356"/>
              <a:gd name="connsiteX75" fmla="*/ 6194152 w 9517857"/>
              <a:gd name="connsiteY75" fmla="*/ 151772 h 918356"/>
              <a:gd name="connsiteX76" fmla="*/ 6281379 w 9517857"/>
              <a:gd name="connsiteY76" fmla="*/ 181626 h 918356"/>
              <a:gd name="connsiteX77" fmla="*/ 6374947 w 9517857"/>
              <a:gd name="connsiteY77" fmla="*/ 179799 h 918356"/>
              <a:gd name="connsiteX78" fmla="*/ 6448518 w 9517857"/>
              <a:gd name="connsiteY78" fmla="*/ 164378 h 918356"/>
              <a:gd name="connsiteX79" fmla="*/ 6544700 w 9517857"/>
              <a:gd name="connsiteY79" fmla="*/ 167161 h 918356"/>
              <a:gd name="connsiteX80" fmla="*/ 6648353 w 9517857"/>
              <a:gd name="connsiteY80" fmla="*/ 172250 h 918356"/>
              <a:gd name="connsiteX81" fmla="*/ 6736227 w 9517857"/>
              <a:gd name="connsiteY81" fmla="*/ 173216 h 918356"/>
              <a:gd name="connsiteX82" fmla="*/ 6977218 w 9517857"/>
              <a:gd name="connsiteY82" fmla="*/ 184289 h 918356"/>
              <a:gd name="connsiteX83" fmla="*/ 7065221 w 9517857"/>
              <a:gd name="connsiteY83" fmla="*/ 227531 h 918356"/>
              <a:gd name="connsiteX84" fmla="*/ 7366876 w 9517857"/>
              <a:gd name="connsiteY84" fmla="*/ 248468 h 918356"/>
              <a:gd name="connsiteX85" fmla="*/ 7565449 w 9517857"/>
              <a:gd name="connsiteY85" fmla="*/ 258950 h 918356"/>
              <a:gd name="connsiteX86" fmla="*/ 7599285 w 9517857"/>
              <a:gd name="connsiteY86" fmla="*/ 266021 h 918356"/>
              <a:gd name="connsiteX87" fmla="*/ 7644411 w 9517857"/>
              <a:gd name="connsiteY87" fmla="*/ 258986 h 918356"/>
              <a:gd name="connsiteX88" fmla="*/ 7825110 w 9517857"/>
              <a:gd name="connsiteY88" fmla="*/ 229109 h 918356"/>
              <a:gd name="connsiteX89" fmla="*/ 7965804 w 9517857"/>
              <a:gd name="connsiteY89" fmla="*/ 190545 h 918356"/>
              <a:gd name="connsiteX90" fmla="*/ 8147401 w 9517857"/>
              <a:gd name="connsiteY90" fmla="*/ 205617 h 918356"/>
              <a:gd name="connsiteX91" fmla="*/ 8256033 w 9517857"/>
              <a:gd name="connsiteY91" fmla="*/ 193713 h 918356"/>
              <a:gd name="connsiteX92" fmla="*/ 8410677 w 9517857"/>
              <a:gd name="connsiteY92" fmla="*/ 172167 h 918356"/>
              <a:gd name="connsiteX93" fmla="*/ 8617841 w 9517857"/>
              <a:gd name="connsiteY93" fmla="*/ 155167 h 918356"/>
              <a:gd name="connsiteX94" fmla="*/ 8715976 w 9517857"/>
              <a:gd name="connsiteY94" fmla="*/ 178374 h 918356"/>
              <a:gd name="connsiteX95" fmla="*/ 8778827 w 9517857"/>
              <a:gd name="connsiteY95" fmla="*/ 172936 h 918356"/>
              <a:gd name="connsiteX96" fmla="*/ 8840778 w 9517857"/>
              <a:gd name="connsiteY96" fmla="*/ 143149 h 918356"/>
              <a:gd name="connsiteX97" fmla="*/ 9010380 w 9517857"/>
              <a:gd name="connsiteY97" fmla="*/ 91891 h 918356"/>
              <a:gd name="connsiteX98" fmla="*/ 9110856 w 9517857"/>
              <a:gd name="connsiteY98" fmla="*/ 70997 h 918356"/>
              <a:gd name="connsiteX99" fmla="*/ 9268817 w 9517857"/>
              <a:gd name="connsiteY99" fmla="*/ 53082 h 918356"/>
              <a:gd name="connsiteX100" fmla="*/ 9316667 w 9517857"/>
              <a:gd name="connsiteY100" fmla="*/ 45047 h 918356"/>
              <a:gd name="connsiteX101" fmla="*/ 9428209 w 9517857"/>
              <a:gd name="connsiteY101" fmla="*/ 29923 h 91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517857" h="918356">
                <a:moveTo>
                  <a:pt x="4686423" y="247919"/>
                </a:moveTo>
                <a:lnTo>
                  <a:pt x="4689051" y="250968"/>
                </a:lnTo>
                <a:lnTo>
                  <a:pt x="4687244" y="251298"/>
                </a:lnTo>
                <a:close/>
                <a:moveTo>
                  <a:pt x="4685225" y="246530"/>
                </a:moveTo>
                <a:cubicBezTo>
                  <a:pt x="4688837" y="243198"/>
                  <a:pt x="4687468" y="244598"/>
                  <a:pt x="4686133" y="246727"/>
                </a:cubicBezTo>
                <a:lnTo>
                  <a:pt x="4686423" y="247919"/>
                </a:lnTo>
                <a:close/>
                <a:moveTo>
                  <a:pt x="9517856" y="0"/>
                </a:moveTo>
                <a:lnTo>
                  <a:pt x="9517857" y="12"/>
                </a:lnTo>
                <a:lnTo>
                  <a:pt x="9517857" y="918356"/>
                </a:lnTo>
                <a:lnTo>
                  <a:pt x="14604" y="918356"/>
                </a:lnTo>
                <a:lnTo>
                  <a:pt x="12841" y="917763"/>
                </a:lnTo>
                <a:cubicBezTo>
                  <a:pt x="4532" y="914864"/>
                  <a:pt x="-773" y="912807"/>
                  <a:pt x="93" y="912471"/>
                </a:cubicBezTo>
                <a:cubicBezTo>
                  <a:pt x="172" y="912298"/>
                  <a:pt x="58594" y="890495"/>
                  <a:pt x="58674" y="890322"/>
                </a:cubicBezTo>
                <a:cubicBezTo>
                  <a:pt x="127436" y="929614"/>
                  <a:pt x="206243" y="828226"/>
                  <a:pt x="275005" y="807229"/>
                </a:cubicBezTo>
                <a:cubicBezTo>
                  <a:pt x="303983" y="806087"/>
                  <a:pt x="504960" y="777375"/>
                  <a:pt x="587824" y="798195"/>
                </a:cubicBezTo>
                <a:cubicBezTo>
                  <a:pt x="598733" y="769348"/>
                  <a:pt x="682904" y="785924"/>
                  <a:pt x="651826" y="738338"/>
                </a:cubicBezTo>
                <a:cubicBezTo>
                  <a:pt x="688440" y="737862"/>
                  <a:pt x="753255" y="750396"/>
                  <a:pt x="727985" y="719826"/>
                </a:cubicBezTo>
                <a:cubicBezTo>
                  <a:pt x="739648" y="718749"/>
                  <a:pt x="775717" y="715087"/>
                  <a:pt x="778982" y="710142"/>
                </a:cubicBezTo>
                <a:cubicBezTo>
                  <a:pt x="779189" y="709407"/>
                  <a:pt x="849736" y="718721"/>
                  <a:pt x="849944" y="717987"/>
                </a:cubicBezTo>
                <a:lnTo>
                  <a:pt x="921659" y="712695"/>
                </a:lnTo>
                <a:lnTo>
                  <a:pt x="930946" y="734046"/>
                </a:lnTo>
                <a:lnTo>
                  <a:pt x="986250" y="713530"/>
                </a:lnTo>
                <a:lnTo>
                  <a:pt x="1013752" y="713361"/>
                </a:lnTo>
                <a:lnTo>
                  <a:pt x="1023734" y="718571"/>
                </a:lnTo>
                <a:cubicBezTo>
                  <a:pt x="1033291" y="721276"/>
                  <a:pt x="1045398" y="721394"/>
                  <a:pt x="1063207" y="715651"/>
                </a:cubicBezTo>
                <a:lnTo>
                  <a:pt x="1081980" y="738455"/>
                </a:lnTo>
                <a:lnTo>
                  <a:pt x="1218120" y="713280"/>
                </a:lnTo>
                <a:cubicBezTo>
                  <a:pt x="1230137" y="716162"/>
                  <a:pt x="1387179" y="685179"/>
                  <a:pt x="1397459" y="691190"/>
                </a:cubicBezTo>
                <a:cubicBezTo>
                  <a:pt x="1490025" y="704984"/>
                  <a:pt x="1465878" y="715604"/>
                  <a:pt x="1580688" y="693697"/>
                </a:cubicBezTo>
                <a:cubicBezTo>
                  <a:pt x="1607067" y="704379"/>
                  <a:pt x="1719477" y="658239"/>
                  <a:pt x="1772334" y="710640"/>
                </a:cubicBezTo>
                <a:cubicBezTo>
                  <a:pt x="1745536" y="644824"/>
                  <a:pt x="1976078" y="716436"/>
                  <a:pt x="2002561" y="659917"/>
                </a:cubicBezTo>
                <a:cubicBezTo>
                  <a:pt x="2045346" y="660357"/>
                  <a:pt x="2166676" y="654391"/>
                  <a:pt x="2135144" y="636501"/>
                </a:cubicBezTo>
                <a:cubicBezTo>
                  <a:pt x="2276591" y="665055"/>
                  <a:pt x="2293173" y="591792"/>
                  <a:pt x="2440292" y="593862"/>
                </a:cubicBezTo>
                <a:cubicBezTo>
                  <a:pt x="2495160" y="534824"/>
                  <a:pt x="2473343" y="585644"/>
                  <a:pt x="2547829" y="566150"/>
                </a:cubicBezTo>
                <a:cubicBezTo>
                  <a:pt x="2545438" y="614169"/>
                  <a:pt x="2632278" y="528280"/>
                  <a:pt x="2658055" y="578727"/>
                </a:cubicBezTo>
                <a:cubicBezTo>
                  <a:pt x="2670795" y="573581"/>
                  <a:pt x="2682322" y="567005"/>
                  <a:pt x="2693698" y="560029"/>
                </a:cubicBezTo>
                <a:lnTo>
                  <a:pt x="2699673" y="556400"/>
                </a:lnTo>
                <a:lnTo>
                  <a:pt x="2727306" y="550698"/>
                </a:lnTo>
                <a:lnTo>
                  <a:pt x="2730451" y="538058"/>
                </a:lnTo>
                <a:lnTo>
                  <a:pt x="2768713" y="521575"/>
                </a:lnTo>
                <a:cubicBezTo>
                  <a:pt x="2783756" y="517104"/>
                  <a:pt x="2800788" y="514291"/>
                  <a:pt x="2820868" y="514160"/>
                </a:cubicBezTo>
                <a:cubicBezTo>
                  <a:pt x="2894791" y="532885"/>
                  <a:pt x="2981506" y="465507"/>
                  <a:pt x="3073635" y="491294"/>
                </a:cubicBezTo>
                <a:cubicBezTo>
                  <a:pt x="3106872" y="496624"/>
                  <a:pt x="3205785" y="487718"/>
                  <a:pt x="3222071" y="470559"/>
                </a:cubicBezTo>
                <a:cubicBezTo>
                  <a:pt x="3242193" y="465514"/>
                  <a:pt x="3267163" y="469136"/>
                  <a:pt x="3274069" y="451605"/>
                </a:cubicBezTo>
                <a:cubicBezTo>
                  <a:pt x="3286659" y="430165"/>
                  <a:pt x="3363648" y="455571"/>
                  <a:pt x="3349632" y="432583"/>
                </a:cubicBezTo>
                <a:cubicBezTo>
                  <a:pt x="3404182" y="449847"/>
                  <a:pt x="3438210" y="404323"/>
                  <a:pt x="3479593" y="390437"/>
                </a:cubicBezTo>
                <a:cubicBezTo>
                  <a:pt x="3523240" y="408403"/>
                  <a:pt x="3567027" y="361554"/>
                  <a:pt x="3660110" y="348726"/>
                </a:cubicBezTo>
                <a:cubicBezTo>
                  <a:pt x="3708299" y="369683"/>
                  <a:pt x="3662447" y="344775"/>
                  <a:pt x="3750023" y="370678"/>
                </a:cubicBezTo>
                <a:cubicBezTo>
                  <a:pt x="3752092" y="367132"/>
                  <a:pt x="3816880" y="365055"/>
                  <a:pt x="3844133" y="360648"/>
                </a:cubicBezTo>
                <a:cubicBezTo>
                  <a:pt x="3871386" y="356240"/>
                  <a:pt x="3882848" y="332490"/>
                  <a:pt x="3913545" y="344235"/>
                </a:cubicBezTo>
                <a:cubicBezTo>
                  <a:pt x="4050255" y="376864"/>
                  <a:pt x="4159924" y="363190"/>
                  <a:pt x="4266740" y="361454"/>
                </a:cubicBezTo>
                <a:cubicBezTo>
                  <a:pt x="4385770" y="354374"/>
                  <a:pt x="4314535" y="340143"/>
                  <a:pt x="4430770" y="342643"/>
                </a:cubicBezTo>
                <a:cubicBezTo>
                  <a:pt x="4439969" y="322594"/>
                  <a:pt x="4478290" y="314645"/>
                  <a:pt x="4512664" y="319948"/>
                </a:cubicBezTo>
                <a:cubicBezTo>
                  <a:pt x="4570011" y="315138"/>
                  <a:pt x="4549085" y="269599"/>
                  <a:pt x="4616423" y="290914"/>
                </a:cubicBezTo>
                <a:cubicBezTo>
                  <a:pt x="4599641" y="270277"/>
                  <a:pt x="4692085" y="269216"/>
                  <a:pt x="4691675" y="254011"/>
                </a:cubicBezTo>
                <a:lnTo>
                  <a:pt x="4689051" y="250968"/>
                </a:lnTo>
                <a:lnTo>
                  <a:pt x="4719994" y="245307"/>
                </a:lnTo>
                <a:cubicBezTo>
                  <a:pt x="4732635" y="242775"/>
                  <a:pt x="4745300" y="240335"/>
                  <a:pt x="4752894" y="239875"/>
                </a:cubicBezTo>
                <a:lnTo>
                  <a:pt x="4769329" y="233585"/>
                </a:lnTo>
                <a:lnTo>
                  <a:pt x="4775634" y="234063"/>
                </a:lnTo>
                <a:lnTo>
                  <a:pt x="4790452" y="233572"/>
                </a:lnTo>
                <a:cubicBezTo>
                  <a:pt x="4789989" y="236356"/>
                  <a:pt x="4789525" y="239141"/>
                  <a:pt x="4789062" y="241924"/>
                </a:cubicBezTo>
                <a:cubicBezTo>
                  <a:pt x="4786342" y="249932"/>
                  <a:pt x="4804560" y="248631"/>
                  <a:pt x="4827826" y="246977"/>
                </a:cubicBezTo>
                <a:cubicBezTo>
                  <a:pt x="4875782" y="239569"/>
                  <a:pt x="4874112" y="283413"/>
                  <a:pt x="4892569" y="249933"/>
                </a:cubicBezTo>
                <a:lnTo>
                  <a:pt x="4896611" y="240448"/>
                </a:lnTo>
                <a:lnTo>
                  <a:pt x="4917286" y="243659"/>
                </a:lnTo>
                <a:cubicBezTo>
                  <a:pt x="4923060" y="243799"/>
                  <a:pt x="4981729" y="240979"/>
                  <a:pt x="4981173" y="247103"/>
                </a:cubicBezTo>
                <a:cubicBezTo>
                  <a:pt x="5024880" y="220690"/>
                  <a:pt x="5014146" y="257963"/>
                  <a:pt x="5060397" y="263688"/>
                </a:cubicBezTo>
                <a:cubicBezTo>
                  <a:pt x="5093356" y="238589"/>
                  <a:pt x="5157892" y="275351"/>
                  <a:pt x="5252996" y="270655"/>
                </a:cubicBezTo>
                <a:cubicBezTo>
                  <a:pt x="5288840" y="241872"/>
                  <a:pt x="5287005" y="287921"/>
                  <a:pt x="5358056" y="247248"/>
                </a:cubicBezTo>
                <a:cubicBezTo>
                  <a:pt x="5361752" y="250257"/>
                  <a:pt x="5403312" y="238215"/>
                  <a:pt x="5426496" y="235142"/>
                </a:cubicBezTo>
                <a:cubicBezTo>
                  <a:pt x="5449679" y="232069"/>
                  <a:pt x="5473549" y="245611"/>
                  <a:pt x="5497161" y="228808"/>
                </a:cubicBezTo>
                <a:cubicBezTo>
                  <a:pt x="5611861" y="172767"/>
                  <a:pt x="5723211" y="165860"/>
                  <a:pt x="5826043" y="148073"/>
                </a:cubicBezTo>
                <a:cubicBezTo>
                  <a:pt x="5943127" y="133166"/>
                  <a:pt x="5872659" y="193078"/>
                  <a:pt x="6013415" y="137316"/>
                </a:cubicBezTo>
                <a:cubicBezTo>
                  <a:pt x="6031924" y="154783"/>
                  <a:pt x="6050745" y="154258"/>
                  <a:pt x="6080994" y="142938"/>
                </a:cubicBezTo>
                <a:cubicBezTo>
                  <a:pt x="6138083" y="137090"/>
                  <a:pt x="6140195" y="184383"/>
                  <a:pt x="6194152" y="151772"/>
                </a:cubicBezTo>
                <a:cubicBezTo>
                  <a:pt x="6187280" y="177783"/>
                  <a:pt x="6304222" y="153410"/>
                  <a:pt x="6281379" y="181626"/>
                </a:cubicBezTo>
                <a:cubicBezTo>
                  <a:pt x="6321899" y="201819"/>
                  <a:pt x="6335111" y="162590"/>
                  <a:pt x="6374947" y="179799"/>
                </a:cubicBezTo>
                <a:cubicBezTo>
                  <a:pt x="6417404" y="181336"/>
                  <a:pt x="6402484" y="169694"/>
                  <a:pt x="6448518" y="164378"/>
                </a:cubicBezTo>
                <a:cubicBezTo>
                  <a:pt x="6504958" y="162488"/>
                  <a:pt x="6493438" y="111203"/>
                  <a:pt x="6544700" y="167161"/>
                </a:cubicBezTo>
                <a:cubicBezTo>
                  <a:pt x="6601507" y="148697"/>
                  <a:pt x="6566269" y="164386"/>
                  <a:pt x="6648353" y="172250"/>
                </a:cubicBezTo>
                <a:cubicBezTo>
                  <a:pt x="6680008" y="155223"/>
                  <a:pt x="6707960" y="160673"/>
                  <a:pt x="6736227" y="173216"/>
                </a:cubicBezTo>
                <a:cubicBezTo>
                  <a:pt x="6813963" y="164284"/>
                  <a:pt x="6888143" y="181296"/>
                  <a:pt x="6977218" y="184289"/>
                </a:cubicBezTo>
                <a:cubicBezTo>
                  <a:pt x="7040424" y="188318"/>
                  <a:pt x="7000278" y="216835"/>
                  <a:pt x="7065221" y="227531"/>
                </a:cubicBezTo>
                <a:cubicBezTo>
                  <a:pt x="7130163" y="238228"/>
                  <a:pt x="7291878" y="238208"/>
                  <a:pt x="7366876" y="248468"/>
                </a:cubicBezTo>
                <a:cubicBezTo>
                  <a:pt x="7491356" y="206752"/>
                  <a:pt x="7367734" y="280166"/>
                  <a:pt x="7565449" y="258950"/>
                </a:cubicBezTo>
                <a:cubicBezTo>
                  <a:pt x="7575959" y="252432"/>
                  <a:pt x="7600854" y="257628"/>
                  <a:pt x="7599285" y="266021"/>
                </a:cubicBezTo>
                <a:cubicBezTo>
                  <a:pt x="7611616" y="262940"/>
                  <a:pt x="7639946" y="245819"/>
                  <a:pt x="7644411" y="258986"/>
                </a:cubicBezTo>
                <a:cubicBezTo>
                  <a:pt x="7708015" y="258012"/>
                  <a:pt x="7770249" y="247724"/>
                  <a:pt x="7825110" y="229109"/>
                </a:cubicBezTo>
                <a:cubicBezTo>
                  <a:pt x="7949762" y="247028"/>
                  <a:pt x="7921956" y="197757"/>
                  <a:pt x="7965804" y="190545"/>
                </a:cubicBezTo>
                <a:cubicBezTo>
                  <a:pt x="8039439" y="213878"/>
                  <a:pt x="8063651" y="191475"/>
                  <a:pt x="8147401" y="205617"/>
                </a:cubicBezTo>
                <a:cubicBezTo>
                  <a:pt x="8166453" y="196610"/>
                  <a:pt x="8225048" y="207099"/>
                  <a:pt x="8256033" y="193713"/>
                </a:cubicBezTo>
                <a:cubicBezTo>
                  <a:pt x="8311388" y="242017"/>
                  <a:pt x="8350376" y="178592"/>
                  <a:pt x="8410677" y="172167"/>
                </a:cubicBezTo>
                <a:cubicBezTo>
                  <a:pt x="8470978" y="165743"/>
                  <a:pt x="8572470" y="206385"/>
                  <a:pt x="8617841" y="155167"/>
                </a:cubicBezTo>
                <a:cubicBezTo>
                  <a:pt x="8646050" y="160448"/>
                  <a:pt x="8664949" y="183631"/>
                  <a:pt x="8715976" y="178374"/>
                </a:cubicBezTo>
                <a:cubicBezTo>
                  <a:pt x="8737194" y="188216"/>
                  <a:pt x="8738009" y="189511"/>
                  <a:pt x="8778827" y="172936"/>
                </a:cubicBezTo>
                <a:cubicBezTo>
                  <a:pt x="8725277" y="146372"/>
                  <a:pt x="8850819" y="175612"/>
                  <a:pt x="8840778" y="143149"/>
                </a:cubicBezTo>
                <a:cubicBezTo>
                  <a:pt x="8903519" y="121096"/>
                  <a:pt x="9021861" y="150359"/>
                  <a:pt x="9010380" y="91891"/>
                </a:cubicBezTo>
                <a:cubicBezTo>
                  <a:pt x="9027103" y="56852"/>
                  <a:pt x="9112524" y="108357"/>
                  <a:pt x="9110856" y="70997"/>
                </a:cubicBezTo>
                <a:cubicBezTo>
                  <a:pt x="9148189" y="94250"/>
                  <a:pt x="9209809" y="53285"/>
                  <a:pt x="9268817" y="53082"/>
                </a:cubicBezTo>
                <a:cubicBezTo>
                  <a:pt x="9279135" y="35997"/>
                  <a:pt x="9292736" y="36520"/>
                  <a:pt x="9316667" y="45047"/>
                </a:cubicBezTo>
                <a:cubicBezTo>
                  <a:pt x="9352186" y="45862"/>
                  <a:pt x="9390008" y="39799"/>
                  <a:pt x="9428209" y="29923"/>
                </a:cubicBez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Recorded Sound">
            <a:hlinkClick r:id="" action="ppaction://media"/>
            <a:extLst>
              <a:ext uri="{FF2B5EF4-FFF2-40B4-BE49-F238E27FC236}">
                <a16:creationId xmlns:a16="http://schemas.microsoft.com/office/drawing/2014/main" id="{A0686C4B-18D2-A537-9560-AAFA7315E536}"/>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421625" y="6301672"/>
            <a:ext cx="417576" cy="41757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44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365125"/>
            <a:ext cx="7886700" cy="1325563"/>
          </a:xfrm>
        </p:spPr>
        <p:txBody>
          <a:bodyPr>
            <a:normAutofit/>
          </a:bodyPr>
          <a:lstStyle/>
          <a:p>
            <a:r>
              <a:rPr lang="en-US" sz="4700" dirty="0"/>
              <a:t>Value Creation Levers</a:t>
            </a:r>
          </a:p>
        </p:txBody>
      </p:sp>
      <p:sp>
        <p:nvSpPr>
          <p:cNvPr id="24"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1777" y="1677373"/>
            <a:ext cx="8140446" cy="18288"/>
          </a:xfrm>
          <a:custGeom>
            <a:avLst/>
            <a:gdLst>
              <a:gd name="connsiteX0" fmla="*/ 0 w 8140446"/>
              <a:gd name="connsiteY0" fmla="*/ 0 h 18288"/>
              <a:gd name="connsiteX1" fmla="*/ 434157 w 8140446"/>
              <a:gd name="connsiteY1" fmla="*/ 0 h 18288"/>
              <a:gd name="connsiteX2" fmla="*/ 1193932 w 8140446"/>
              <a:gd name="connsiteY2" fmla="*/ 0 h 18288"/>
              <a:gd name="connsiteX3" fmla="*/ 1628089 w 8140446"/>
              <a:gd name="connsiteY3" fmla="*/ 0 h 18288"/>
              <a:gd name="connsiteX4" fmla="*/ 2225055 w 8140446"/>
              <a:gd name="connsiteY4" fmla="*/ 0 h 18288"/>
              <a:gd name="connsiteX5" fmla="*/ 3066235 w 8140446"/>
              <a:gd name="connsiteY5" fmla="*/ 0 h 18288"/>
              <a:gd name="connsiteX6" fmla="*/ 3744605 w 8140446"/>
              <a:gd name="connsiteY6" fmla="*/ 0 h 18288"/>
              <a:gd name="connsiteX7" fmla="*/ 4504380 w 8140446"/>
              <a:gd name="connsiteY7" fmla="*/ 0 h 18288"/>
              <a:gd name="connsiteX8" fmla="*/ 5101346 w 8140446"/>
              <a:gd name="connsiteY8" fmla="*/ 0 h 18288"/>
              <a:gd name="connsiteX9" fmla="*/ 5779717 w 8140446"/>
              <a:gd name="connsiteY9" fmla="*/ 0 h 18288"/>
              <a:gd name="connsiteX10" fmla="*/ 6620896 w 8140446"/>
              <a:gd name="connsiteY10" fmla="*/ 0 h 18288"/>
              <a:gd name="connsiteX11" fmla="*/ 7136458 w 8140446"/>
              <a:gd name="connsiteY11" fmla="*/ 0 h 18288"/>
              <a:gd name="connsiteX12" fmla="*/ 8140446 w 8140446"/>
              <a:gd name="connsiteY12" fmla="*/ 0 h 18288"/>
              <a:gd name="connsiteX13" fmla="*/ 8140446 w 8140446"/>
              <a:gd name="connsiteY13" fmla="*/ 18288 h 18288"/>
              <a:gd name="connsiteX14" fmla="*/ 7543480 w 8140446"/>
              <a:gd name="connsiteY14" fmla="*/ 18288 h 18288"/>
              <a:gd name="connsiteX15" fmla="*/ 7109323 w 8140446"/>
              <a:gd name="connsiteY15" fmla="*/ 18288 h 18288"/>
              <a:gd name="connsiteX16" fmla="*/ 6430952 w 8140446"/>
              <a:gd name="connsiteY16" fmla="*/ 18288 h 18288"/>
              <a:gd name="connsiteX17" fmla="*/ 5915391 w 8140446"/>
              <a:gd name="connsiteY17" fmla="*/ 18288 h 18288"/>
              <a:gd name="connsiteX18" fmla="*/ 5237020 w 8140446"/>
              <a:gd name="connsiteY18" fmla="*/ 18288 h 18288"/>
              <a:gd name="connsiteX19" fmla="*/ 4558650 w 8140446"/>
              <a:gd name="connsiteY19" fmla="*/ 18288 h 18288"/>
              <a:gd name="connsiteX20" fmla="*/ 3880279 w 8140446"/>
              <a:gd name="connsiteY20" fmla="*/ 18288 h 18288"/>
              <a:gd name="connsiteX21" fmla="*/ 3201909 w 8140446"/>
              <a:gd name="connsiteY21" fmla="*/ 18288 h 18288"/>
              <a:gd name="connsiteX22" fmla="*/ 2604943 w 8140446"/>
              <a:gd name="connsiteY22" fmla="*/ 18288 h 18288"/>
              <a:gd name="connsiteX23" fmla="*/ 1845168 w 8140446"/>
              <a:gd name="connsiteY23" fmla="*/ 18288 h 18288"/>
              <a:gd name="connsiteX24" fmla="*/ 1166797 w 8140446"/>
              <a:gd name="connsiteY24" fmla="*/ 18288 h 18288"/>
              <a:gd name="connsiteX25" fmla="*/ 0 w 8140446"/>
              <a:gd name="connsiteY25" fmla="*/ 18288 h 18288"/>
              <a:gd name="connsiteX26" fmla="*/ 0 w 8140446"/>
              <a:gd name="connsiteY2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40446" h="18288" fill="none" extrusionOk="0">
                <a:moveTo>
                  <a:pt x="0" y="0"/>
                </a:moveTo>
                <a:cubicBezTo>
                  <a:pt x="94920" y="9103"/>
                  <a:pt x="287892" y="-4966"/>
                  <a:pt x="434157" y="0"/>
                </a:cubicBezTo>
                <a:cubicBezTo>
                  <a:pt x="580422" y="4966"/>
                  <a:pt x="943595" y="-14182"/>
                  <a:pt x="1193932" y="0"/>
                </a:cubicBezTo>
                <a:cubicBezTo>
                  <a:pt x="1444270" y="14182"/>
                  <a:pt x="1472129" y="5523"/>
                  <a:pt x="1628089" y="0"/>
                </a:cubicBezTo>
                <a:cubicBezTo>
                  <a:pt x="1784049" y="-5523"/>
                  <a:pt x="1962419" y="-17322"/>
                  <a:pt x="2225055" y="0"/>
                </a:cubicBezTo>
                <a:cubicBezTo>
                  <a:pt x="2487691" y="17322"/>
                  <a:pt x="2700681" y="1311"/>
                  <a:pt x="3066235" y="0"/>
                </a:cubicBezTo>
                <a:cubicBezTo>
                  <a:pt x="3431789" y="-1311"/>
                  <a:pt x="3405662" y="25081"/>
                  <a:pt x="3744605" y="0"/>
                </a:cubicBezTo>
                <a:cubicBezTo>
                  <a:pt x="4083548" y="-25081"/>
                  <a:pt x="4265111" y="-11945"/>
                  <a:pt x="4504380" y="0"/>
                </a:cubicBezTo>
                <a:cubicBezTo>
                  <a:pt x="4743649" y="11945"/>
                  <a:pt x="4860394" y="-2832"/>
                  <a:pt x="5101346" y="0"/>
                </a:cubicBezTo>
                <a:cubicBezTo>
                  <a:pt x="5342298" y="2832"/>
                  <a:pt x="5456387" y="23676"/>
                  <a:pt x="5779717" y="0"/>
                </a:cubicBezTo>
                <a:cubicBezTo>
                  <a:pt x="6103047" y="-23676"/>
                  <a:pt x="6270379" y="-37291"/>
                  <a:pt x="6620896" y="0"/>
                </a:cubicBezTo>
                <a:cubicBezTo>
                  <a:pt x="6971413" y="37291"/>
                  <a:pt x="6989068" y="24674"/>
                  <a:pt x="7136458" y="0"/>
                </a:cubicBezTo>
                <a:cubicBezTo>
                  <a:pt x="7283848" y="-24674"/>
                  <a:pt x="7752532" y="-22436"/>
                  <a:pt x="8140446" y="0"/>
                </a:cubicBezTo>
                <a:cubicBezTo>
                  <a:pt x="8140314" y="7702"/>
                  <a:pt x="8140234" y="13511"/>
                  <a:pt x="8140446" y="18288"/>
                </a:cubicBezTo>
                <a:cubicBezTo>
                  <a:pt x="7906329" y="-3043"/>
                  <a:pt x="7681180" y="27465"/>
                  <a:pt x="7543480" y="18288"/>
                </a:cubicBezTo>
                <a:cubicBezTo>
                  <a:pt x="7405780" y="9111"/>
                  <a:pt x="7216607" y="3660"/>
                  <a:pt x="7109323" y="18288"/>
                </a:cubicBezTo>
                <a:cubicBezTo>
                  <a:pt x="7002039" y="32916"/>
                  <a:pt x="6576231" y="42692"/>
                  <a:pt x="6430952" y="18288"/>
                </a:cubicBezTo>
                <a:cubicBezTo>
                  <a:pt x="6285673" y="-6116"/>
                  <a:pt x="6138840" y="34521"/>
                  <a:pt x="5915391" y="18288"/>
                </a:cubicBezTo>
                <a:cubicBezTo>
                  <a:pt x="5691942" y="2055"/>
                  <a:pt x="5459460" y="51666"/>
                  <a:pt x="5237020" y="18288"/>
                </a:cubicBezTo>
                <a:cubicBezTo>
                  <a:pt x="5014580" y="-15090"/>
                  <a:pt x="4747677" y="40449"/>
                  <a:pt x="4558650" y="18288"/>
                </a:cubicBezTo>
                <a:cubicBezTo>
                  <a:pt x="4369623" y="-3873"/>
                  <a:pt x="4146061" y="12568"/>
                  <a:pt x="3880279" y="18288"/>
                </a:cubicBezTo>
                <a:cubicBezTo>
                  <a:pt x="3614497" y="24008"/>
                  <a:pt x="3473808" y="-12908"/>
                  <a:pt x="3201909" y="18288"/>
                </a:cubicBezTo>
                <a:cubicBezTo>
                  <a:pt x="2930010" y="49484"/>
                  <a:pt x="2728175" y="-3430"/>
                  <a:pt x="2604943" y="18288"/>
                </a:cubicBezTo>
                <a:cubicBezTo>
                  <a:pt x="2481711" y="40006"/>
                  <a:pt x="2004334" y="26952"/>
                  <a:pt x="1845168" y="18288"/>
                </a:cubicBezTo>
                <a:cubicBezTo>
                  <a:pt x="1686003" y="9624"/>
                  <a:pt x="1375070" y="37580"/>
                  <a:pt x="1166797" y="18288"/>
                </a:cubicBezTo>
                <a:cubicBezTo>
                  <a:pt x="958524" y="-1004"/>
                  <a:pt x="342846" y="8880"/>
                  <a:pt x="0" y="18288"/>
                </a:cubicBezTo>
                <a:cubicBezTo>
                  <a:pt x="129" y="13298"/>
                  <a:pt x="-675" y="6857"/>
                  <a:pt x="0" y="0"/>
                </a:cubicBezTo>
                <a:close/>
              </a:path>
              <a:path w="8140446" h="18288" stroke="0" extrusionOk="0">
                <a:moveTo>
                  <a:pt x="0" y="0"/>
                </a:moveTo>
                <a:cubicBezTo>
                  <a:pt x="142435" y="-24533"/>
                  <a:pt x="380026" y="17447"/>
                  <a:pt x="596966" y="0"/>
                </a:cubicBezTo>
                <a:cubicBezTo>
                  <a:pt x="813906" y="-17447"/>
                  <a:pt x="830530" y="13462"/>
                  <a:pt x="1031123" y="0"/>
                </a:cubicBezTo>
                <a:cubicBezTo>
                  <a:pt x="1231716" y="-13462"/>
                  <a:pt x="1634038" y="0"/>
                  <a:pt x="1872303" y="0"/>
                </a:cubicBezTo>
                <a:cubicBezTo>
                  <a:pt x="2110568" y="0"/>
                  <a:pt x="2261934" y="-25727"/>
                  <a:pt x="2469269" y="0"/>
                </a:cubicBezTo>
                <a:cubicBezTo>
                  <a:pt x="2676604" y="25727"/>
                  <a:pt x="2790440" y="16284"/>
                  <a:pt x="3066235" y="0"/>
                </a:cubicBezTo>
                <a:cubicBezTo>
                  <a:pt x="3342030" y="-16284"/>
                  <a:pt x="3685603" y="41976"/>
                  <a:pt x="3907414" y="0"/>
                </a:cubicBezTo>
                <a:cubicBezTo>
                  <a:pt x="4129225" y="-41976"/>
                  <a:pt x="4177416" y="-7598"/>
                  <a:pt x="4422976" y="0"/>
                </a:cubicBezTo>
                <a:cubicBezTo>
                  <a:pt x="4668536" y="7598"/>
                  <a:pt x="5023499" y="-28058"/>
                  <a:pt x="5264155" y="0"/>
                </a:cubicBezTo>
                <a:cubicBezTo>
                  <a:pt x="5504811" y="28058"/>
                  <a:pt x="5703675" y="13288"/>
                  <a:pt x="6105335" y="0"/>
                </a:cubicBezTo>
                <a:cubicBezTo>
                  <a:pt x="6506995" y="-13288"/>
                  <a:pt x="6455516" y="-5124"/>
                  <a:pt x="6783705" y="0"/>
                </a:cubicBezTo>
                <a:cubicBezTo>
                  <a:pt x="7111894" y="5124"/>
                  <a:pt x="7512856" y="10604"/>
                  <a:pt x="8140446" y="0"/>
                </a:cubicBezTo>
                <a:cubicBezTo>
                  <a:pt x="8140458" y="8833"/>
                  <a:pt x="8140986" y="9830"/>
                  <a:pt x="8140446" y="18288"/>
                </a:cubicBezTo>
                <a:cubicBezTo>
                  <a:pt x="7959314" y="3345"/>
                  <a:pt x="7870113" y="10437"/>
                  <a:pt x="7706289" y="18288"/>
                </a:cubicBezTo>
                <a:cubicBezTo>
                  <a:pt x="7542465" y="26139"/>
                  <a:pt x="7157940" y="17482"/>
                  <a:pt x="6865109" y="18288"/>
                </a:cubicBezTo>
                <a:cubicBezTo>
                  <a:pt x="6572278" y="19094"/>
                  <a:pt x="6524256" y="38051"/>
                  <a:pt x="6349548" y="18288"/>
                </a:cubicBezTo>
                <a:cubicBezTo>
                  <a:pt x="6174840" y="-1475"/>
                  <a:pt x="5951624" y="174"/>
                  <a:pt x="5671177" y="18288"/>
                </a:cubicBezTo>
                <a:cubicBezTo>
                  <a:pt x="5390730" y="36402"/>
                  <a:pt x="5222992" y="60058"/>
                  <a:pt x="4829998" y="18288"/>
                </a:cubicBezTo>
                <a:cubicBezTo>
                  <a:pt x="4437004" y="-23482"/>
                  <a:pt x="4344181" y="39087"/>
                  <a:pt x="4151627" y="18288"/>
                </a:cubicBezTo>
                <a:cubicBezTo>
                  <a:pt x="3959073" y="-2511"/>
                  <a:pt x="3886970" y="32875"/>
                  <a:pt x="3717470" y="18288"/>
                </a:cubicBezTo>
                <a:cubicBezTo>
                  <a:pt x="3547970" y="3701"/>
                  <a:pt x="3451521" y="31872"/>
                  <a:pt x="3201909" y="18288"/>
                </a:cubicBezTo>
                <a:cubicBezTo>
                  <a:pt x="2952297" y="4704"/>
                  <a:pt x="2543413" y="6029"/>
                  <a:pt x="2360729" y="18288"/>
                </a:cubicBezTo>
                <a:cubicBezTo>
                  <a:pt x="2178045" y="30547"/>
                  <a:pt x="1906056" y="25847"/>
                  <a:pt x="1682359" y="18288"/>
                </a:cubicBezTo>
                <a:cubicBezTo>
                  <a:pt x="1458662" y="10730"/>
                  <a:pt x="1330405" y="8046"/>
                  <a:pt x="1166797" y="18288"/>
                </a:cubicBezTo>
                <a:cubicBezTo>
                  <a:pt x="1003189" y="28530"/>
                  <a:pt x="278098" y="19533"/>
                  <a:pt x="0" y="18288"/>
                </a:cubicBezTo>
                <a:cubicBezTo>
                  <a:pt x="74" y="14054"/>
                  <a:pt x="-46" y="699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28650" y="1929384"/>
            <a:ext cx="7886700" cy="4251960"/>
          </a:xfrm>
        </p:spPr>
        <p:txBody>
          <a:bodyPr>
            <a:normAutofit/>
          </a:bodyPr>
          <a:lstStyle/>
          <a:p>
            <a:endParaRPr lang="en-US" sz="1900"/>
          </a:p>
          <a:p>
            <a:r>
              <a:rPr lang="en-US" sz="1900"/>
              <a:t>1) Double‑Down on High‑Value Customers</a:t>
            </a:r>
          </a:p>
          <a:p>
            <a:pPr lvl="1"/>
            <a:r>
              <a:rPr lang="en-US" sz="1900"/>
              <a:t>Launch tiered loyalty &amp; personalized bundles in Toys/Electronics</a:t>
            </a:r>
          </a:p>
          <a:p>
            <a:pPr lvl="1"/>
            <a:r>
              <a:rPr lang="en-US" sz="1900"/>
              <a:t>Geo‑tailor offers for top countries; suppress blanket discounts</a:t>
            </a:r>
          </a:p>
          <a:p>
            <a:r>
              <a:rPr lang="en-US" sz="1900"/>
              <a:t>2) SKU &amp; Mix Optimization</a:t>
            </a:r>
          </a:p>
          <a:p>
            <a:pPr lvl="1"/>
            <a:r>
              <a:rPr lang="en-US" sz="1900"/>
              <a:t>Expand premium SKUs and attach‑rate bundles; prune unprofitable long‑tail</a:t>
            </a:r>
          </a:p>
          <a:p>
            <a:pPr lvl="1"/>
            <a:r>
              <a:rPr lang="en-US" sz="1900"/>
              <a:t>Reallocate inventory to high‑ROIC geos/categories</a:t>
            </a:r>
          </a:p>
          <a:p>
            <a:r>
              <a:rPr lang="en-US" sz="1900"/>
              <a:t>3) Operations &amp; Fulfillment Uplift</a:t>
            </a:r>
          </a:p>
          <a:p>
            <a:pPr lvl="1"/>
            <a:r>
              <a:rPr lang="en-US" sz="1900"/>
              <a:t>Triage 155 long‑tail delays; refine DTC‑FBA playbook &amp; SLAs</a:t>
            </a:r>
          </a:p>
          <a:p>
            <a:pPr lvl="1"/>
            <a:r>
              <a:rPr lang="en-US" sz="1900"/>
              <a:t>Run cost‑to‑serve for Clothing; rebalance network to reduce variable cost</a:t>
            </a:r>
          </a:p>
        </p:txBody>
      </p:sp>
      <p:pic>
        <p:nvPicPr>
          <p:cNvPr id="6" name="Audio 5">
            <a:hlinkClick r:id="" action="ppaction://media"/>
            <a:extLst>
              <a:ext uri="{FF2B5EF4-FFF2-40B4-BE49-F238E27FC236}">
                <a16:creationId xmlns:a16="http://schemas.microsoft.com/office/drawing/2014/main" id="{DD047A9A-8B7E-BA72-7E4D-E5281CB26D02}"/>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203125" t="-203125" r="-203125" b="-203125"/>
          <a:stretch>
            <a:fillRect/>
          </a:stretch>
        </p:blipFill>
        <p:spPr>
          <a:xfrm>
            <a:off x="7086600" y="5138928"/>
            <a:ext cx="2057400" cy="2057400"/>
          </a:xfrm>
          <a:prstGeom prst="ellipse">
            <a:avLst/>
          </a:prstGeom>
        </p:spPr>
      </p:pic>
    </p:spTree>
  </p:cSld>
  <p:clrMapOvr>
    <a:masterClrMapping/>
  </p:clrMapOvr>
  <mc:AlternateContent xmlns:mc="http://schemas.openxmlformats.org/markup-compatibility/2006" xmlns:p14="http://schemas.microsoft.com/office/powerpoint/2010/main">
    <mc:Choice Requires="p14">
      <p:transition spd="slow" p14:dur="2000" advTm="30140"/>
    </mc:Choice>
    <mc:Fallback xmlns="">
      <p:transition spd="slow" advTm="3014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B7F2DAC-5036-D174-1019-6ACF98CE83C5}"/>
              </a:ext>
            </a:extLst>
          </p:cNvPr>
          <p:cNvGraphicFramePr>
            <a:graphicFrameLocks noChangeAspect="1"/>
          </p:cNvGraphicFramePr>
          <p:nvPr>
            <p:custDataLst>
              <p:tags r:id="rId1"/>
            </p:custDataLst>
            <p:extLst>
              <p:ext uri="{D42A27DB-BD31-4B8C-83A1-F6EECF244321}">
                <p14:modId xmlns:p14="http://schemas.microsoft.com/office/powerpoint/2010/main" val="1266676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think-cell data - do not delete" hidden="1">
                        <a:extLst>
                          <a:ext uri="{FF2B5EF4-FFF2-40B4-BE49-F238E27FC236}">
                            <a16:creationId xmlns:a16="http://schemas.microsoft.com/office/drawing/2014/main" id="{3B7F2DAC-5036-D174-1019-6ACF98CE83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useBgFill="1">
        <p:nvSpPr>
          <p:cNvPr id="22" name="Rectangle 21">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1777" y="1677373"/>
            <a:ext cx="8140446" cy="18288"/>
          </a:xfrm>
          <a:custGeom>
            <a:avLst/>
            <a:gdLst>
              <a:gd name="connsiteX0" fmla="*/ 0 w 8140446"/>
              <a:gd name="connsiteY0" fmla="*/ 0 h 18288"/>
              <a:gd name="connsiteX1" fmla="*/ 434157 w 8140446"/>
              <a:gd name="connsiteY1" fmla="*/ 0 h 18288"/>
              <a:gd name="connsiteX2" fmla="*/ 1193932 w 8140446"/>
              <a:gd name="connsiteY2" fmla="*/ 0 h 18288"/>
              <a:gd name="connsiteX3" fmla="*/ 1628089 w 8140446"/>
              <a:gd name="connsiteY3" fmla="*/ 0 h 18288"/>
              <a:gd name="connsiteX4" fmla="*/ 2225055 w 8140446"/>
              <a:gd name="connsiteY4" fmla="*/ 0 h 18288"/>
              <a:gd name="connsiteX5" fmla="*/ 3066235 w 8140446"/>
              <a:gd name="connsiteY5" fmla="*/ 0 h 18288"/>
              <a:gd name="connsiteX6" fmla="*/ 3744605 w 8140446"/>
              <a:gd name="connsiteY6" fmla="*/ 0 h 18288"/>
              <a:gd name="connsiteX7" fmla="*/ 4504380 w 8140446"/>
              <a:gd name="connsiteY7" fmla="*/ 0 h 18288"/>
              <a:gd name="connsiteX8" fmla="*/ 5101346 w 8140446"/>
              <a:gd name="connsiteY8" fmla="*/ 0 h 18288"/>
              <a:gd name="connsiteX9" fmla="*/ 5779717 w 8140446"/>
              <a:gd name="connsiteY9" fmla="*/ 0 h 18288"/>
              <a:gd name="connsiteX10" fmla="*/ 6620896 w 8140446"/>
              <a:gd name="connsiteY10" fmla="*/ 0 h 18288"/>
              <a:gd name="connsiteX11" fmla="*/ 7136458 w 8140446"/>
              <a:gd name="connsiteY11" fmla="*/ 0 h 18288"/>
              <a:gd name="connsiteX12" fmla="*/ 8140446 w 8140446"/>
              <a:gd name="connsiteY12" fmla="*/ 0 h 18288"/>
              <a:gd name="connsiteX13" fmla="*/ 8140446 w 8140446"/>
              <a:gd name="connsiteY13" fmla="*/ 18288 h 18288"/>
              <a:gd name="connsiteX14" fmla="*/ 7543480 w 8140446"/>
              <a:gd name="connsiteY14" fmla="*/ 18288 h 18288"/>
              <a:gd name="connsiteX15" fmla="*/ 7109323 w 8140446"/>
              <a:gd name="connsiteY15" fmla="*/ 18288 h 18288"/>
              <a:gd name="connsiteX16" fmla="*/ 6430952 w 8140446"/>
              <a:gd name="connsiteY16" fmla="*/ 18288 h 18288"/>
              <a:gd name="connsiteX17" fmla="*/ 5915391 w 8140446"/>
              <a:gd name="connsiteY17" fmla="*/ 18288 h 18288"/>
              <a:gd name="connsiteX18" fmla="*/ 5237020 w 8140446"/>
              <a:gd name="connsiteY18" fmla="*/ 18288 h 18288"/>
              <a:gd name="connsiteX19" fmla="*/ 4558650 w 8140446"/>
              <a:gd name="connsiteY19" fmla="*/ 18288 h 18288"/>
              <a:gd name="connsiteX20" fmla="*/ 3880279 w 8140446"/>
              <a:gd name="connsiteY20" fmla="*/ 18288 h 18288"/>
              <a:gd name="connsiteX21" fmla="*/ 3201909 w 8140446"/>
              <a:gd name="connsiteY21" fmla="*/ 18288 h 18288"/>
              <a:gd name="connsiteX22" fmla="*/ 2604943 w 8140446"/>
              <a:gd name="connsiteY22" fmla="*/ 18288 h 18288"/>
              <a:gd name="connsiteX23" fmla="*/ 1845168 w 8140446"/>
              <a:gd name="connsiteY23" fmla="*/ 18288 h 18288"/>
              <a:gd name="connsiteX24" fmla="*/ 1166797 w 8140446"/>
              <a:gd name="connsiteY24" fmla="*/ 18288 h 18288"/>
              <a:gd name="connsiteX25" fmla="*/ 0 w 8140446"/>
              <a:gd name="connsiteY25" fmla="*/ 18288 h 18288"/>
              <a:gd name="connsiteX26" fmla="*/ 0 w 8140446"/>
              <a:gd name="connsiteY2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40446" h="18288" fill="none" extrusionOk="0">
                <a:moveTo>
                  <a:pt x="0" y="0"/>
                </a:moveTo>
                <a:cubicBezTo>
                  <a:pt x="94920" y="9103"/>
                  <a:pt x="287892" y="-4966"/>
                  <a:pt x="434157" y="0"/>
                </a:cubicBezTo>
                <a:cubicBezTo>
                  <a:pt x="580422" y="4966"/>
                  <a:pt x="943595" y="-14182"/>
                  <a:pt x="1193932" y="0"/>
                </a:cubicBezTo>
                <a:cubicBezTo>
                  <a:pt x="1444270" y="14182"/>
                  <a:pt x="1472129" y="5523"/>
                  <a:pt x="1628089" y="0"/>
                </a:cubicBezTo>
                <a:cubicBezTo>
                  <a:pt x="1784049" y="-5523"/>
                  <a:pt x="1962419" y="-17322"/>
                  <a:pt x="2225055" y="0"/>
                </a:cubicBezTo>
                <a:cubicBezTo>
                  <a:pt x="2487691" y="17322"/>
                  <a:pt x="2700681" y="1311"/>
                  <a:pt x="3066235" y="0"/>
                </a:cubicBezTo>
                <a:cubicBezTo>
                  <a:pt x="3431789" y="-1311"/>
                  <a:pt x="3405662" y="25081"/>
                  <a:pt x="3744605" y="0"/>
                </a:cubicBezTo>
                <a:cubicBezTo>
                  <a:pt x="4083548" y="-25081"/>
                  <a:pt x="4265111" y="-11945"/>
                  <a:pt x="4504380" y="0"/>
                </a:cubicBezTo>
                <a:cubicBezTo>
                  <a:pt x="4743649" y="11945"/>
                  <a:pt x="4860394" y="-2832"/>
                  <a:pt x="5101346" y="0"/>
                </a:cubicBezTo>
                <a:cubicBezTo>
                  <a:pt x="5342298" y="2832"/>
                  <a:pt x="5456387" y="23676"/>
                  <a:pt x="5779717" y="0"/>
                </a:cubicBezTo>
                <a:cubicBezTo>
                  <a:pt x="6103047" y="-23676"/>
                  <a:pt x="6270379" y="-37291"/>
                  <a:pt x="6620896" y="0"/>
                </a:cubicBezTo>
                <a:cubicBezTo>
                  <a:pt x="6971413" y="37291"/>
                  <a:pt x="6989068" y="24674"/>
                  <a:pt x="7136458" y="0"/>
                </a:cubicBezTo>
                <a:cubicBezTo>
                  <a:pt x="7283848" y="-24674"/>
                  <a:pt x="7752532" y="-22436"/>
                  <a:pt x="8140446" y="0"/>
                </a:cubicBezTo>
                <a:cubicBezTo>
                  <a:pt x="8140314" y="7702"/>
                  <a:pt x="8140234" y="13511"/>
                  <a:pt x="8140446" y="18288"/>
                </a:cubicBezTo>
                <a:cubicBezTo>
                  <a:pt x="7906329" y="-3043"/>
                  <a:pt x="7681180" y="27465"/>
                  <a:pt x="7543480" y="18288"/>
                </a:cubicBezTo>
                <a:cubicBezTo>
                  <a:pt x="7405780" y="9111"/>
                  <a:pt x="7216607" y="3660"/>
                  <a:pt x="7109323" y="18288"/>
                </a:cubicBezTo>
                <a:cubicBezTo>
                  <a:pt x="7002039" y="32916"/>
                  <a:pt x="6576231" y="42692"/>
                  <a:pt x="6430952" y="18288"/>
                </a:cubicBezTo>
                <a:cubicBezTo>
                  <a:pt x="6285673" y="-6116"/>
                  <a:pt x="6138840" y="34521"/>
                  <a:pt x="5915391" y="18288"/>
                </a:cubicBezTo>
                <a:cubicBezTo>
                  <a:pt x="5691942" y="2055"/>
                  <a:pt x="5459460" y="51666"/>
                  <a:pt x="5237020" y="18288"/>
                </a:cubicBezTo>
                <a:cubicBezTo>
                  <a:pt x="5014580" y="-15090"/>
                  <a:pt x="4747677" y="40449"/>
                  <a:pt x="4558650" y="18288"/>
                </a:cubicBezTo>
                <a:cubicBezTo>
                  <a:pt x="4369623" y="-3873"/>
                  <a:pt x="4146061" y="12568"/>
                  <a:pt x="3880279" y="18288"/>
                </a:cubicBezTo>
                <a:cubicBezTo>
                  <a:pt x="3614497" y="24008"/>
                  <a:pt x="3473808" y="-12908"/>
                  <a:pt x="3201909" y="18288"/>
                </a:cubicBezTo>
                <a:cubicBezTo>
                  <a:pt x="2930010" y="49484"/>
                  <a:pt x="2728175" y="-3430"/>
                  <a:pt x="2604943" y="18288"/>
                </a:cubicBezTo>
                <a:cubicBezTo>
                  <a:pt x="2481711" y="40006"/>
                  <a:pt x="2004334" y="26952"/>
                  <a:pt x="1845168" y="18288"/>
                </a:cubicBezTo>
                <a:cubicBezTo>
                  <a:pt x="1686003" y="9624"/>
                  <a:pt x="1375070" y="37580"/>
                  <a:pt x="1166797" y="18288"/>
                </a:cubicBezTo>
                <a:cubicBezTo>
                  <a:pt x="958524" y="-1004"/>
                  <a:pt x="342846" y="8880"/>
                  <a:pt x="0" y="18288"/>
                </a:cubicBezTo>
                <a:cubicBezTo>
                  <a:pt x="129" y="13298"/>
                  <a:pt x="-675" y="6857"/>
                  <a:pt x="0" y="0"/>
                </a:cubicBezTo>
                <a:close/>
              </a:path>
              <a:path w="8140446" h="18288" stroke="0" extrusionOk="0">
                <a:moveTo>
                  <a:pt x="0" y="0"/>
                </a:moveTo>
                <a:cubicBezTo>
                  <a:pt x="142435" y="-24533"/>
                  <a:pt x="380026" y="17447"/>
                  <a:pt x="596966" y="0"/>
                </a:cubicBezTo>
                <a:cubicBezTo>
                  <a:pt x="813906" y="-17447"/>
                  <a:pt x="830530" y="13462"/>
                  <a:pt x="1031123" y="0"/>
                </a:cubicBezTo>
                <a:cubicBezTo>
                  <a:pt x="1231716" y="-13462"/>
                  <a:pt x="1634038" y="0"/>
                  <a:pt x="1872303" y="0"/>
                </a:cubicBezTo>
                <a:cubicBezTo>
                  <a:pt x="2110568" y="0"/>
                  <a:pt x="2261934" y="-25727"/>
                  <a:pt x="2469269" y="0"/>
                </a:cubicBezTo>
                <a:cubicBezTo>
                  <a:pt x="2676604" y="25727"/>
                  <a:pt x="2790440" y="16284"/>
                  <a:pt x="3066235" y="0"/>
                </a:cubicBezTo>
                <a:cubicBezTo>
                  <a:pt x="3342030" y="-16284"/>
                  <a:pt x="3685603" y="41976"/>
                  <a:pt x="3907414" y="0"/>
                </a:cubicBezTo>
                <a:cubicBezTo>
                  <a:pt x="4129225" y="-41976"/>
                  <a:pt x="4177416" y="-7598"/>
                  <a:pt x="4422976" y="0"/>
                </a:cubicBezTo>
                <a:cubicBezTo>
                  <a:pt x="4668536" y="7598"/>
                  <a:pt x="5023499" y="-28058"/>
                  <a:pt x="5264155" y="0"/>
                </a:cubicBezTo>
                <a:cubicBezTo>
                  <a:pt x="5504811" y="28058"/>
                  <a:pt x="5703675" y="13288"/>
                  <a:pt x="6105335" y="0"/>
                </a:cubicBezTo>
                <a:cubicBezTo>
                  <a:pt x="6506995" y="-13288"/>
                  <a:pt x="6455516" y="-5124"/>
                  <a:pt x="6783705" y="0"/>
                </a:cubicBezTo>
                <a:cubicBezTo>
                  <a:pt x="7111894" y="5124"/>
                  <a:pt x="7512856" y="10604"/>
                  <a:pt x="8140446" y="0"/>
                </a:cubicBezTo>
                <a:cubicBezTo>
                  <a:pt x="8140458" y="8833"/>
                  <a:pt x="8140986" y="9830"/>
                  <a:pt x="8140446" y="18288"/>
                </a:cubicBezTo>
                <a:cubicBezTo>
                  <a:pt x="7959314" y="3345"/>
                  <a:pt x="7870113" y="10437"/>
                  <a:pt x="7706289" y="18288"/>
                </a:cubicBezTo>
                <a:cubicBezTo>
                  <a:pt x="7542465" y="26139"/>
                  <a:pt x="7157940" y="17482"/>
                  <a:pt x="6865109" y="18288"/>
                </a:cubicBezTo>
                <a:cubicBezTo>
                  <a:pt x="6572278" y="19094"/>
                  <a:pt x="6524256" y="38051"/>
                  <a:pt x="6349548" y="18288"/>
                </a:cubicBezTo>
                <a:cubicBezTo>
                  <a:pt x="6174840" y="-1475"/>
                  <a:pt x="5951624" y="174"/>
                  <a:pt x="5671177" y="18288"/>
                </a:cubicBezTo>
                <a:cubicBezTo>
                  <a:pt x="5390730" y="36402"/>
                  <a:pt x="5222992" y="60058"/>
                  <a:pt x="4829998" y="18288"/>
                </a:cubicBezTo>
                <a:cubicBezTo>
                  <a:pt x="4437004" y="-23482"/>
                  <a:pt x="4344181" y="39087"/>
                  <a:pt x="4151627" y="18288"/>
                </a:cubicBezTo>
                <a:cubicBezTo>
                  <a:pt x="3959073" y="-2511"/>
                  <a:pt x="3886970" y="32875"/>
                  <a:pt x="3717470" y="18288"/>
                </a:cubicBezTo>
                <a:cubicBezTo>
                  <a:pt x="3547970" y="3701"/>
                  <a:pt x="3451521" y="31872"/>
                  <a:pt x="3201909" y="18288"/>
                </a:cubicBezTo>
                <a:cubicBezTo>
                  <a:pt x="2952297" y="4704"/>
                  <a:pt x="2543413" y="6029"/>
                  <a:pt x="2360729" y="18288"/>
                </a:cubicBezTo>
                <a:cubicBezTo>
                  <a:pt x="2178045" y="30547"/>
                  <a:pt x="1906056" y="25847"/>
                  <a:pt x="1682359" y="18288"/>
                </a:cubicBezTo>
                <a:cubicBezTo>
                  <a:pt x="1458662" y="10730"/>
                  <a:pt x="1330405" y="8046"/>
                  <a:pt x="1166797" y="18288"/>
                </a:cubicBezTo>
                <a:cubicBezTo>
                  <a:pt x="1003189" y="28530"/>
                  <a:pt x="278098" y="19533"/>
                  <a:pt x="0" y="18288"/>
                </a:cubicBezTo>
                <a:cubicBezTo>
                  <a:pt x="74" y="14054"/>
                  <a:pt x="-46" y="699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28650" y="1929384"/>
            <a:ext cx="7886700" cy="4251960"/>
          </a:xfrm>
        </p:spPr>
        <p:txBody>
          <a:bodyPr>
            <a:normAutofit/>
          </a:bodyPr>
          <a:lstStyle/>
          <a:p>
            <a:endParaRPr lang="en-US" sz="1900"/>
          </a:p>
          <a:p>
            <a:r>
              <a:rPr lang="en-US" sz="1900"/>
              <a:t>Timeline</a:t>
            </a:r>
          </a:p>
          <a:p>
            <a:pPr lvl="1"/>
            <a:r>
              <a:rPr lang="en-US" sz="1900"/>
              <a:t>0–30 days: Fix model hygiene; identify top/bottom 10% SKUs; outlier triage</a:t>
            </a:r>
          </a:p>
          <a:p>
            <a:pPr lvl="1"/>
            <a:r>
              <a:rPr lang="en-US" sz="1900"/>
              <a:t>30–90 days: Pilot loyalty/bundles; cost‑to‑serve (Clothing); ops fixes for DTC‑FBA</a:t>
            </a:r>
          </a:p>
          <a:p>
            <a:pPr lvl="1"/>
            <a:r>
              <a:rPr lang="en-US" sz="1900"/>
              <a:t>90–180 days: Scale to priority geos; embed weekly KPI dashboard</a:t>
            </a:r>
          </a:p>
          <a:p>
            <a:r>
              <a:rPr lang="en-US" sz="1900"/>
              <a:t>Resources</a:t>
            </a:r>
          </a:p>
          <a:p>
            <a:pPr lvl="1"/>
            <a:r>
              <a:rPr lang="en-US" sz="1900"/>
              <a:t>Data scientist (0.5 FTE) + analyst (0.5 FTE) for cohorting &amp; validation</a:t>
            </a:r>
          </a:p>
          <a:p>
            <a:pPr lvl="1"/>
            <a:r>
              <a:rPr lang="en-US" sz="1900"/>
              <a:t>CRM lead + merch manager for offers &amp; mix</a:t>
            </a:r>
          </a:p>
          <a:p>
            <a:pPr lvl="1"/>
            <a:r>
              <a:rPr lang="en-US" sz="1900"/>
              <a:t>Ops lead + analyst for SLA, routing and inventory shifts</a:t>
            </a:r>
          </a:p>
          <a:p>
            <a:pPr lvl="1"/>
            <a:r>
              <a:rPr lang="en-US" sz="1900"/>
              <a:t>Light engineering support for dashboard &amp; feature gating</a:t>
            </a:r>
          </a:p>
        </p:txBody>
      </p:sp>
      <p:sp>
        <p:nvSpPr>
          <p:cNvPr id="5" name="Title 1">
            <a:extLst>
              <a:ext uri="{FF2B5EF4-FFF2-40B4-BE49-F238E27FC236}">
                <a16:creationId xmlns:a16="http://schemas.microsoft.com/office/drawing/2014/main" id="{C5590365-06B9-5F1E-C28E-28A7852B80A8}"/>
              </a:ext>
            </a:extLst>
          </p:cNvPr>
          <p:cNvSpPr txBox="1">
            <a:spLocks/>
          </p:cNvSpPr>
          <p:nvPr/>
        </p:nvSpPr>
        <p:spPr>
          <a:xfrm>
            <a:off x="628650" y="6032"/>
            <a:ext cx="7457037" cy="155448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200" dirty="0"/>
              <a:t>Timeline &amp; Resources</a:t>
            </a:r>
          </a:p>
        </p:txBody>
      </p:sp>
      <p:pic>
        <p:nvPicPr>
          <p:cNvPr id="9" name="Audio 8">
            <a:hlinkClick r:id="" action="ppaction://media"/>
            <a:extLst>
              <a:ext uri="{FF2B5EF4-FFF2-40B4-BE49-F238E27FC236}">
                <a16:creationId xmlns:a16="http://schemas.microsoft.com/office/drawing/2014/main" id="{C7DF5ADA-AE5C-DCA2-9060-4BAC0711AA3E}"/>
              </a:ext>
            </a:extLst>
          </p:cNvPr>
          <p:cNvPicPr>
            <a:picLocks noChangeAspect="1"/>
          </p:cNvPicPr>
          <p:nvPr>
            <a:audioFile r:link="rId3"/>
            <p:extLst>
              <p:ext uri="{DAA4B4D4-6D71-4841-9C94-3DE7FCFB9230}">
                <p14:media xmlns:p14="http://schemas.microsoft.com/office/powerpoint/2010/main" r:embed="rId2"/>
              </p:ext>
            </p:extLst>
          </p:nvPr>
        </p:nvPicPr>
        <p:blipFill>
          <a:blip r:embed="rId8"/>
          <a:srcRect l="-203125" t="-203125" r="-203125" b="-203125"/>
          <a:stretch>
            <a:fillRect/>
          </a:stretch>
        </p:blipFill>
        <p:spPr>
          <a:xfrm>
            <a:off x="7397496" y="5255017"/>
            <a:ext cx="2057400" cy="2057400"/>
          </a:xfrm>
          <a:prstGeom prst="ellipse">
            <a:avLst/>
          </a:prstGeom>
        </p:spPr>
      </p:pic>
    </p:spTree>
  </p:cSld>
  <p:clrMapOvr>
    <a:masterClrMapping/>
  </p:clrMapOvr>
  <mc:AlternateContent xmlns:mc="http://schemas.openxmlformats.org/markup-compatibility/2006" xmlns:p14="http://schemas.microsoft.com/office/powerpoint/2010/main">
    <mc:Choice Requires="p14">
      <p:transition spd="slow" p14:dur="2000" advTm="16711"/>
    </mc:Choice>
    <mc:Fallback xmlns="">
      <p:transition spd="slow" advTm="1671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365125"/>
            <a:ext cx="7886700" cy="1325563"/>
          </a:xfrm>
        </p:spPr>
        <p:txBody>
          <a:bodyPr>
            <a:normAutofit/>
          </a:bodyPr>
          <a:lstStyle/>
          <a:p>
            <a:r>
              <a:rPr lang="en-US" sz="4700" dirty="0"/>
              <a:t>Sensitivity &amp; Risk Scenarios</a:t>
            </a:r>
          </a:p>
        </p:txBody>
      </p:sp>
      <p:sp>
        <p:nvSpPr>
          <p:cNvPr id="24"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1777" y="1677373"/>
            <a:ext cx="8140446" cy="18288"/>
          </a:xfrm>
          <a:custGeom>
            <a:avLst/>
            <a:gdLst>
              <a:gd name="connsiteX0" fmla="*/ 0 w 8140446"/>
              <a:gd name="connsiteY0" fmla="*/ 0 h 18288"/>
              <a:gd name="connsiteX1" fmla="*/ 434157 w 8140446"/>
              <a:gd name="connsiteY1" fmla="*/ 0 h 18288"/>
              <a:gd name="connsiteX2" fmla="*/ 1193932 w 8140446"/>
              <a:gd name="connsiteY2" fmla="*/ 0 h 18288"/>
              <a:gd name="connsiteX3" fmla="*/ 1628089 w 8140446"/>
              <a:gd name="connsiteY3" fmla="*/ 0 h 18288"/>
              <a:gd name="connsiteX4" fmla="*/ 2225055 w 8140446"/>
              <a:gd name="connsiteY4" fmla="*/ 0 h 18288"/>
              <a:gd name="connsiteX5" fmla="*/ 3066235 w 8140446"/>
              <a:gd name="connsiteY5" fmla="*/ 0 h 18288"/>
              <a:gd name="connsiteX6" fmla="*/ 3744605 w 8140446"/>
              <a:gd name="connsiteY6" fmla="*/ 0 h 18288"/>
              <a:gd name="connsiteX7" fmla="*/ 4504380 w 8140446"/>
              <a:gd name="connsiteY7" fmla="*/ 0 h 18288"/>
              <a:gd name="connsiteX8" fmla="*/ 5101346 w 8140446"/>
              <a:gd name="connsiteY8" fmla="*/ 0 h 18288"/>
              <a:gd name="connsiteX9" fmla="*/ 5779717 w 8140446"/>
              <a:gd name="connsiteY9" fmla="*/ 0 h 18288"/>
              <a:gd name="connsiteX10" fmla="*/ 6620896 w 8140446"/>
              <a:gd name="connsiteY10" fmla="*/ 0 h 18288"/>
              <a:gd name="connsiteX11" fmla="*/ 7136458 w 8140446"/>
              <a:gd name="connsiteY11" fmla="*/ 0 h 18288"/>
              <a:gd name="connsiteX12" fmla="*/ 8140446 w 8140446"/>
              <a:gd name="connsiteY12" fmla="*/ 0 h 18288"/>
              <a:gd name="connsiteX13" fmla="*/ 8140446 w 8140446"/>
              <a:gd name="connsiteY13" fmla="*/ 18288 h 18288"/>
              <a:gd name="connsiteX14" fmla="*/ 7543480 w 8140446"/>
              <a:gd name="connsiteY14" fmla="*/ 18288 h 18288"/>
              <a:gd name="connsiteX15" fmla="*/ 7109323 w 8140446"/>
              <a:gd name="connsiteY15" fmla="*/ 18288 h 18288"/>
              <a:gd name="connsiteX16" fmla="*/ 6430952 w 8140446"/>
              <a:gd name="connsiteY16" fmla="*/ 18288 h 18288"/>
              <a:gd name="connsiteX17" fmla="*/ 5915391 w 8140446"/>
              <a:gd name="connsiteY17" fmla="*/ 18288 h 18288"/>
              <a:gd name="connsiteX18" fmla="*/ 5237020 w 8140446"/>
              <a:gd name="connsiteY18" fmla="*/ 18288 h 18288"/>
              <a:gd name="connsiteX19" fmla="*/ 4558650 w 8140446"/>
              <a:gd name="connsiteY19" fmla="*/ 18288 h 18288"/>
              <a:gd name="connsiteX20" fmla="*/ 3880279 w 8140446"/>
              <a:gd name="connsiteY20" fmla="*/ 18288 h 18288"/>
              <a:gd name="connsiteX21" fmla="*/ 3201909 w 8140446"/>
              <a:gd name="connsiteY21" fmla="*/ 18288 h 18288"/>
              <a:gd name="connsiteX22" fmla="*/ 2604943 w 8140446"/>
              <a:gd name="connsiteY22" fmla="*/ 18288 h 18288"/>
              <a:gd name="connsiteX23" fmla="*/ 1845168 w 8140446"/>
              <a:gd name="connsiteY23" fmla="*/ 18288 h 18288"/>
              <a:gd name="connsiteX24" fmla="*/ 1166797 w 8140446"/>
              <a:gd name="connsiteY24" fmla="*/ 18288 h 18288"/>
              <a:gd name="connsiteX25" fmla="*/ 0 w 8140446"/>
              <a:gd name="connsiteY25" fmla="*/ 18288 h 18288"/>
              <a:gd name="connsiteX26" fmla="*/ 0 w 8140446"/>
              <a:gd name="connsiteY2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40446" h="18288" fill="none" extrusionOk="0">
                <a:moveTo>
                  <a:pt x="0" y="0"/>
                </a:moveTo>
                <a:cubicBezTo>
                  <a:pt x="94920" y="9103"/>
                  <a:pt x="287892" y="-4966"/>
                  <a:pt x="434157" y="0"/>
                </a:cubicBezTo>
                <a:cubicBezTo>
                  <a:pt x="580422" y="4966"/>
                  <a:pt x="943595" y="-14182"/>
                  <a:pt x="1193932" y="0"/>
                </a:cubicBezTo>
                <a:cubicBezTo>
                  <a:pt x="1444270" y="14182"/>
                  <a:pt x="1472129" y="5523"/>
                  <a:pt x="1628089" y="0"/>
                </a:cubicBezTo>
                <a:cubicBezTo>
                  <a:pt x="1784049" y="-5523"/>
                  <a:pt x="1962419" y="-17322"/>
                  <a:pt x="2225055" y="0"/>
                </a:cubicBezTo>
                <a:cubicBezTo>
                  <a:pt x="2487691" y="17322"/>
                  <a:pt x="2700681" y="1311"/>
                  <a:pt x="3066235" y="0"/>
                </a:cubicBezTo>
                <a:cubicBezTo>
                  <a:pt x="3431789" y="-1311"/>
                  <a:pt x="3405662" y="25081"/>
                  <a:pt x="3744605" y="0"/>
                </a:cubicBezTo>
                <a:cubicBezTo>
                  <a:pt x="4083548" y="-25081"/>
                  <a:pt x="4265111" y="-11945"/>
                  <a:pt x="4504380" y="0"/>
                </a:cubicBezTo>
                <a:cubicBezTo>
                  <a:pt x="4743649" y="11945"/>
                  <a:pt x="4860394" y="-2832"/>
                  <a:pt x="5101346" y="0"/>
                </a:cubicBezTo>
                <a:cubicBezTo>
                  <a:pt x="5342298" y="2832"/>
                  <a:pt x="5456387" y="23676"/>
                  <a:pt x="5779717" y="0"/>
                </a:cubicBezTo>
                <a:cubicBezTo>
                  <a:pt x="6103047" y="-23676"/>
                  <a:pt x="6270379" y="-37291"/>
                  <a:pt x="6620896" y="0"/>
                </a:cubicBezTo>
                <a:cubicBezTo>
                  <a:pt x="6971413" y="37291"/>
                  <a:pt x="6989068" y="24674"/>
                  <a:pt x="7136458" y="0"/>
                </a:cubicBezTo>
                <a:cubicBezTo>
                  <a:pt x="7283848" y="-24674"/>
                  <a:pt x="7752532" y="-22436"/>
                  <a:pt x="8140446" y="0"/>
                </a:cubicBezTo>
                <a:cubicBezTo>
                  <a:pt x="8140314" y="7702"/>
                  <a:pt x="8140234" y="13511"/>
                  <a:pt x="8140446" y="18288"/>
                </a:cubicBezTo>
                <a:cubicBezTo>
                  <a:pt x="7906329" y="-3043"/>
                  <a:pt x="7681180" y="27465"/>
                  <a:pt x="7543480" y="18288"/>
                </a:cubicBezTo>
                <a:cubicBezTo>
                  <a:pt x="7405780" y="9111"/>
                  <a:pt x="7216607" y="3660"/>
                  <a:pt x="7109323" y="18288"/>
                </a:cubicBezTo>
                <a:cubicBezTo>
                  <a:pt x="7002039" y="32916"/>
                  <a:pt x="6576231" y="42692"/>
                  <a:pt x="6430952" y="18288"/>
                </a:cubicBezTo>
                <a:cubicBezTo>
                  <a:pt x="6285673" y="-6116"/>
                  <a:pt x="6138840" y="34521"/>
                  <a:pt x="5915391" y="18288"/>
                </a:cubicBezTo>
                <a:cubicBezTo>
                  <a:pt x="5691942" y="2055"/>
                  <a:pt x="5459460" y="51666"/>
                  <a:pt x="5237020" y="18288"/>
                </a:cubicBezTo>
                <a:cubicBezTo>
                  <a:pt x="5014580" y="-15090"/>
                  <a:pt x="4747677" y="40449"/>
                  <a:pt x="4558650" y="18288"/>
                </a:cubicBezTo>
                <a:cubicBezTo>
                  <a:pt x="4369623" y="-3873"/>
                  <a:pt x="4146061" y="12568"/>
                  <a:pt x="3880279" y="18288"/>
                </a:cubicBezTo>
                <a:cubicBezTo>
                  <a:pt x="3614497" y="24008"/>
                  <a:pt x="3473808" y="-12908"/>
                  <a:pt x="3201909" y="18288"/>
                </a:cubicBezTo>
                <a:cubicBezTo>
                  <a:pt x="2930010" y="49484"/>
                  <a:pt x="2728175" y="-3430"/>
                  <a:pt x="2604943" y="18288"/>
                </a:cubicBezTo>
                <a:cubicBezTo>
                  <a:pt x="2481711" y="40006"/>
                  <a:pt x="2004334" y="26952"/>
                  <a:pt x="1845168" y="18288"/>
                </a:cubicBezTo>
                <a:cubicBezTo>
                  <a:pt x="1686003" y="9624"/>
                  <a:pt x="1375070" y="37580"/>
                  <a:pt x="1166797" y="18288"/>
                </a:cubicBezTo>
                <a:cubicBezTo>
                  <a:pt x="958524" y="-1004"/>
                  <a:pt x="342846" y="8880"/>
                  <a:pt x="0" y="18288"/>
                </a:cubicBezTo>
                <a:cubicBezTo>
                  <a:pt x="129" y="13298"/>
                  <a:pt x="-675" y="6857"/>
                  <a:pt x="0" y="0"/>
                </a:cubicBezTo>
                <a:close/>
              </a:path>
              <a:path w="8140446" h="18288" stroke="0" extrusionOk="0">
                <a:moveTo>
                  <a:pt x="0" y="0"/>
                </a:moveTo>
                <a:cubicBezTo>
                  <a:pt x="142435" y="-24533"/>
                  <a:pt x="380026" y="17447"/>
                  <a:pt x="596966" y="0"/>
                </a:cubicBezTo>
                <a:cubicBezTo>
                  <a:pt x="813906" y="-17447"/>
                  <a:pt x="830530" y="13462"/>
                  <a:pt x="1031123" y="0"/>
                </a:cubicBezTo>
                <a:cubicBezTo>
                  <a:pt x="1231716" y="-13462"/>
                  <a:pt x="1634038" y="0"/>
                  <a:pt x="1872303" y="0"/>
                </a:cubicBezTo>
                <a:cubicBezTo>
                  <a:pt x="2110568" y="0"/>
                  <a:pt x="2261934" y="-25727"/>
                  <a:pt x="2469269" y="0"/>
                </a:cubicBezTo>
                <a:cubicBezTo>
                  <a:pt x="2676604" y="25727"/>
                  <a:pt x="2790440" y="16284"/>
                  <a:pt x="3066235" y="0"/>
                </a:cubicBezTo>
                <a:cubicBezTo>
                  <a:pt x="3342030" y="-16284"/>
                  <a:pt x="3685603" y="41976"/>
                  <a:pt x="3907414" y="0"/>
                </a:cubicBezTo>
                <a:cubicBezTo>
                  <a:pt x="4129225" y="-41976"/>
                  <a:pt x="4177416" y="-7598"/>
                  <a:pt x="4422976" y="0"/>
                </a:cubicBezTo>
                <a:cubicBezTo>
                  <a:pt x="4668536" y="7598"/>
                  <a:pt x="5023499" y="-28058"/>
                  <a:pt x="5264155" y="0"/>
                </a:cubicBezTo>
                <a:cubicBezTo>
                  <a:pt x="5504811" y="28058"/>
                  <a:pt x="5703675" y="13288"/>
                  <a:pt x="6105335" y="0"/>
                </a:cubicBezTo>
                <a:cubicBezTo>
                  <a:pt x="6506995" y="-13288"/>
                  <a:pt x="6455516" y="-5124"/>
                  <a:pt x="6783705" y="0"/>
                </a:cubicBezTo>
                <a:cubicBezTo>
                  <a:pt x="7111894" y="5124"/>
                  <a:pt x="7512856" y="10604"/>
                  <a:pt x="8140446" y="0"/>
                </a:cubicBezTo>
                <a:cubicBezTo>
                  <a:pt x="8140458" y="8833"/>
                  <a:pt x="8140986" y="9830"/>
                  <a:pt x="8140446" y="18288"/>
                </a:cubicBezTo>
                <a:cubicBezTo>
                  <a:pt x="7959314" y="3345"/>
                  <a:pt x="7870113" y="10437"/>
                  <a:pt x="7706289" y="18288"/>
                </a:cubicBezTo>
                <a:cubicBezTo>
                  <a:pt x="7542465" y="26139"/>
                  <a:pt x="7157940" y="17482"/>
                  <a:pt x="6865109" y="18288"/>
                </a:cubicBezTo>
                <a:cubicBezTo>
                  <a:pt x="6572278" y="19094"/>
                  <a:pt x="6524256" y="38051"/>
                  <a:pt x="6349548" y="18288"/>
                </a:cubicBezTo>
                <a:cubicBezTo>
                  <a:pt x="6174840" y="-1475"/>
                  <a:pt x="5951624" y="174"/>
                  <a:pt x="5671177" y="18288"/>
                </a:cubicBezTo>
                <a:cubicBezTo>
                  <a:pt x="5390730" y="36402"/>
                  <a:pt x="5222992" y="60058"/>
                  <a:pt x="4829998" y="18288"/>
                </a:cubicBezTo>
                <a:cubicBezTo>
                  <a:pt x="4437004" y="-23482"/>
                  <a:pt x="4344181" y="39087"/>
                  <a:pt x="4151627" y="18288"/>
                </a:cubicBezTo>
                <a:cubicBezTo>
                  <a:pt x="3959073" y="-2511"/>
                  <a:pt x="3886970" y="32875"/>
                  <a:pt x="3717470" y="18288"/>
                </a:cubicBezTo>
                <a:cubicBezTo>
                  <a:pt x="3547970" y="3701"/>
                  <a:pt x="3451521" y="31872"/>
                  <a:pt x="3201909" y="18288"/>
                </a:cubicBezTo>
                <a:cubicBezTo>
                  <a:pt x="2952297" y="4704"/>
                  <a:pt x="2543413" y="6029"/>
                  <a:pt x="2360729" y="18288"/>
                </a:cubicBezTo>
                <a:cubicBezTo>
                  <a:pt x="2178045" y="30547"/>
                  <a:pt x="1906056" y="25847"/>
                  <a:pt x="1682359" y="18288"/>
                </a:cubicBezTo>
                <a:cubicBezTo>
                  <a:pt x="1458662" y="10730"/>
                  <a:pt x="1330405" y="8046"/>
                  <a:pt x="1166797" y="18288"/>
                </a:cubicBezTo>
                <a:cubicBezTo>
                  <a:pt x="1003189" y="28530"/>
                  <a:pt x="278098" y="19533"/>
                  <a:pt x="0" y="18288"/>
                </a:cubicBezTo>
                <a:cubicBezTo>
                  <a:pt x="74" y="14054"/>
                  <a:pt x="-46" y="699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28650" y="1929384"/>
            <a:ext cx="7886700" cy="4251960"/>
          </a:xfrm>
        </p:spPr>
        <p:txBody>
          <a:bodyPr>
            <a:normAutofit/>
          </a:bodyPr>
          <a:lstStyle/>
          <a:p>
            <a:endParaRPr lang="en-US" sz="1900" dirty="0"/>
          </a:p>
          <a:p>
            <a:r>
              <a:rPr lang="en-US" sz="1900" dirty="0"/>
              <a:t>ROI Ranges</a:t>
            </a:r>
          </a:p>
          <a:p>
            <a:pPr lvl="1"/>
            <a:r>
              <a:rPr lang="en-US" sz="1900" dirty="0"/>
              <a:t>+3–5% Average order Value (“AOV”) via bundles/upsell</a:t>
            </a:r>
          </a:p>
          <a:p>
            <a:pPr lvl="1"/>
            <a:r>
              <a:rPr lang="en-US" sz="1900" dirty="0"/>
              <a:t>+100–200 bps gross margin via mix &amp; cost‑to‑serve</a:t>
            </a:r>
          </a:p>
          <a:p>
            <a:pPr lvl="1"/>
            <a:r>
              <a:rPr lang="en-US" sz="1900" dirty="0"/>
              <a:t>−50–100 bps returns/ops cost through SLA &amp; routing fixes</a:t>
            </a:r>
          </a:p>
          <a:p>
            <a:r>
              <a:rPr lang="en-US" sz="1900" dirty="0"/>
              <a:t>Success Metrics (weekly)</a:t>
            </a:r>
          </a:p>
          <a:p>
            <a:pPr lvl="1"/>
            <a:r>
              <a:rPr lang="en-US" sz="1900" dirty="0"/>
              <a:t>AOV, Contribution Margin/order, return rate, on‑time %, delay tail (&gt;P95)</a:t>
            </a:r>
          </a:p>
          <a:p>
            <a:pPr lvl="1"/>
            <a:r>
              <a:rPr lang="en-US" sz="1900" dirty="0"/>
              <a:t>Loyalty enrollments/participation &amp; attach rates</a:t>
            </a:r>
          </a:p>
          <a:p>
            <a:pPr lvl="1"/>
            <a:r>
              <a:rPr lang="en-US" sz="1900" dirty="0"/>
              <a:t>EBITDA bridge vs. plan; geo/category contribution</a:t>
            </a:r>
          </a:p>
        </p:txBody>
      </p:sp>
      <p:pic>
        <p:nvPicPr>
          <p:cNvPr id="5" name="Audio Recording Aug 16, 2025 at 12:24:36 PM">
            <a:hlinkClick r:id="" action="ppaction://media"/>
            <a:extLst>
              <a:ext uri="{FF2B5EF4-FFF2-40B4-BE49-F238E27FC236}">
                <a16:creationId xmlns:a16="http://schemas.microsoft.com/office/drawing/2014/main" id="{67171EDD-8BB0-1C7D-C752-7AF002AB1AD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108950" y="5977128"/>
            <a:ext cx="812800" cy="8128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976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4130bd39-7c53-419c-b1e5-8758d6d63f21}" enabled="0" method="" siteId="{4130bd39-7c53-419c-b1e5-8758d6d63f21}" removed="1"/>
</clbl:labelList>
</file>

<file path=docProps/app.xml><?xml version="1.0" encoding="utf-8"?>
<Properties xmlns="http://schemas.openxmlformats.org/officeDocument/2006/extended-properties" xmlns:vt="http://schemas.openxmlformats.org/officeDocument/2006/docPropsVTypes">
  <TotalTime>931</TotalTime>
  <Words>1164</Words>
  <Application>Microsoft Macintosh PowerPoint</Application>
  <PresentationFormat>On-screen Show (4:3)</PresentationFormat>
  <Paragraphs>110</Paragraphs>
  <Slides>10</Slides>
  <Notes>5</Notes>
  <HiddenSlides>0</HiddenSlides>
  <MMClips>1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ptos</vt:lpstr>
      <vt:lpstr>Arial</vt:lpstr>
      <vt:lpstr>Calibri</vt:lpstr>
      <vt:lpstr>Times New Roman</vt:lpstr>
      <vt:lpstr>Office Theme</vt:lpstr>
      <vt:lpstr>think-cell Slide</vt:lpstr>
      <vt:lpstr>Cost Reduction Thesis for a fast-growing Ecommerce firm</vt:lpstr>
      <vt:lpstr>Analytical Approach for Due Diligence</vt:lpstr>
      <vt:lpstr>Financial Diligence: Key Insights</vt:lpstr>
      <vt:lpstr>Commercial Diligence: Customer &amp; Market</vt:lpstr>
      <vt:lpstr>Operational Diligence: Efficiency &amp; Processes</vt:lpstr>
      <vt:lpstr>Risk &amp; Strategic Diligence</vt:lpstr>
      <vt:lpstr>Value Creation Levers</vt:lpstr>
      <vt:lpstr>PowerPoint Presentation</vt:lpstr>
      <vt:lpstr>Sensitivity &amp; Risk Scenarios</vt:lpstr>
      <vt:lpstr>Recommendation for Private Equity Firm</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generated using python-pptx</dc:description>
  <cp:lastModifiedBy>Senthil Mariappan</cp:lastModifiedBy>
  <cp:revision>5</cp:revision>
  <dcterms:created xsi:type="dcterms:W3CDTF">2013-01-27T09:14:16Z</dcterms:created>
  <dcterms:modified xsi:type="dcterms:W3CDTF">2025-08-17T00:55:22Z</dcterms:modified>
  <cp:category/>
</cp:coreProperties>
</file>